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7.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8.xml" ContentType="application/vnd.openxmlformats-officedocument.theme+xml"/>
  <Override PartName="/ppt/ink/ink1.xml" ContentType="application/inkml+xml"/>
  <Override PartName="/ppt/ink/ink2.xml" ContentType="application/inkml+xml"/>
  <Override PartName="/ppt/ink/ink3.xml" ContentType="application/inkml+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9.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0.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1.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12.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3.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14.xml" ContentType="application/vnd.openxmlformats-officedocument.theme+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15.xml" ContentType="application/vnd.openxmlformats-officedocument.theme+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6.xml" ContentType="application/vnd.openxmlformats-officedocument.theme+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theme/theme17.xml" ContentType="application/vnd.openxmlformats-officedocument.theme+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theme/theme18.xml" ContentType="application/vnd.openxmlformats-officedocument.theme+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19.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20.xml" ContentType="application/vnd.openxmlformats-officedocument.theme+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21.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theme/theme22.xml" ContentType="application/vnd.openxmlformats-officedocument.theme+xml"/>
  <Override PartName="/ppt/tags/tag2.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83688" r:id="rId7"/>
    <p:sldMasterId id="2147492480" r:id="rId8"/>
    <p:sldMasterId id="2147492434" r:id="rId9"/>
    <p:sldMasterId id="2147492687" r:id="rId10"/>
    <p:sldMasterId id="2147492753" r:id="rId11"/>
    <p:sldMasterId id="2147492818" r:id="rId12"/>
    <p:sldMasterId id="2147492837" r:id="rId13"/>
    <p:sldMasterId id="2147492905" r:id="rId14"/>
    <p:sldMasterId id="2147492945" r:id="rId15"/>
    <p:sldMasterId id="2147492981" r:id="rId16"/>
    <p:sldMasterId id="2147493016" r:id="rId17"/>
    <p:sldMasterId id="2147493057" r:id="rId18"/>
    <p:sldMasterId id="2147493084" r:id="rId19"/>
    <p:sldMasterId id="2147493108" r:id="rId20"/>
    <p:sldMasterId id="2147493146" r:id="rId21"/>
    <p:sldMasterId id="2147493220" r:id="rId22"/>
    <p:sldMasterId id="2147493263" r:id="rId23"/>
    <p:sldMasterId id="2147493316" r:id="rId24"/>
    <p:sldMasterId id="2147493411" r:id="rId25"/>
  </p:sldMasterIdLst>
  <p:notesMasterIdLst>
    <p:notesMasterId r:id="rId42"/>
  </p:notesMasterIdLst>
  <p:handoutMasterIdLst>
    <p:handoutMasterId r:id="rId43"/>
  </p:handoutMasterIdLst>
  <p:sldIdLst>
    <p:sldId id="2147468422" r:id="rId26"/>
    <p:sldId id="2147469841" r:id="rId27"/>
    <p:sldId id="2147469848" r:id="rId28"/>
    <p:sldId id="2147469801" r:id="rId29"/>
    <p:sldId id="2147469856" r:id="rId30"/>
    <p:sldId id="2147469852" r:id="rId31"/>
    <p:sldId id="2076137535" r:id="rId32"/>
    <p:sldId id="2147469807" r:id="rId33"/>
    <p:sldId id="2147469860" r:id="rId34"/>
    <p:sldId id="2147469863" r:id="rId35"/>
    <p:sldId id="2147469864" r:id="rId36"/>
    <p:sldId id="2147469866" r:id="rId37"/>
    <p:sldId id="2147469861" r:id="rId38"/>
    <p:sldId id="2147469862" r:id="rId39"/>
    <p:sldId id="2147469868" r:id="rId40"/>
    <p:sldId id="2147469867" r:id="rId41"/>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6"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EF2C25-857D-45D4-8260-1587E1857C98}" v="52" dt="2022-08-11T07:43:18.9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30" autoAdjust="0"/>
    <p:restoredTop sz="92489" autoAdjust="0"/>
  </p:normalViewPr>
  <p:slideViewPr>
    <p:cSldViewPr snapToGrid="0">
      <p:cViewPr>
        <p:scale>
          <a:sx n="100" d="100"/>
          <a:sy n="100" d="100"/>
        </p:scale>
        <p:origin x="36" y="87"/>
      </p:cViewPr>
      <p:guideLst/>
    </p:cSldViewPr>
  </p:slideViewPr>
  <p:notesTextViewPr>
    <p:cViewPr>
      <p:scale>
        <a:sx n="3" d="2"/>
        <a:sy n="3" d="2"/>
      </p:scale>
      <p:origin x="0" y="0"/>
    </p:cViewPr>
  </p:notesTextViewPr>
  <p:sorterViewPr>
    <p:cViewPr>
      <p:scale>
        <a:sx n="100" d="100"/>
        <a:sy n="100" d="100"/>
      </p:scale>
      <p:origin x="0" y="-8403"/>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8/11/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4:03.167"/>
    </inkml:context>
    <inkml:brush xml:id="br0">
      <inkml:brushProperty name="width" value="0.05" units="cm"/>
      <inkml:brushProperty name="height" value="0.05" units="cm"/>
    </inkml:brush>
  </inkml:definitions>
  <inkml:trace contextRef="#ctx0" brushRef="#br0">141 162 6911 0 0,'-17'-11'512'0'0,"1"-1"0"0"0,1-1 0 0 0,0-1-1 0 0,-13-15 1 0 0,17 17 2781 0 0,1-1-1 0 0,-16-24 0 0 0,26 36-3300 0 0,0 1 0 0 0,0-1 0 0 0,-1 1 0 0 0,1-1-1 0 0,0 1 1 0 0,0 0 0 0 0,-1-1 0 0 0,1 1 0 0 0,0-1 0 0 0,0 1 0 0 0,0-1-1 0 0,0 1 1 0 0,0-1 0 0 0,0 1 0 0 0,0-1 0 0 0,0 0 0 0 0,0 1 0 0 0,0-1-1 0 0,0 1 1 0 0,0-1 0 0 0,0 1 0 0 0,0-1 0 0 0,0 1 0 0 0,0-1 0 0 0,1 1-1 0 0,-1-1 1 0 0,0 1 0 0 0,0 0 0 0 0,1-1 0 0 0,-1 1 0 0 0,0-1-1 0 0,0 1 1 0 0,1 0 0 0 0,-1-1 0 0 0,1 1 0 0 0,-1-1 0 0 0,0 1 0 0 0,1 0-1 0 0,-1 0 1 0 0,1-1 0 0 0,-1 1 0 0 0,1 0 0 0 0,-1 0 0 0 0,1 0 0 0 0,-1-1-1 0 0,1 1 1 0 0,-1 0 0 0 0,1 0 0 0 0,-1 0 0 0 0,1 0 0 0 0,-1 0 0 0 0,1 0-1 0 0,28 1-1761 0 0,-12 4 168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8:26.893"/>
    </inkml:context>
    <inkml:brush xml:id="br0">
      <inkml:brushProperty name="width" value="0.05" units="cm"/>
      <inkml:brushProperty name="height" value="0.05" units="cm"/>
    </inkml:brush>
  </inkml:definitions>
  <inkml:trace contextRef="#ctx0" brushRef="#br0">5 1 5527 0 0,'0'0'7392'0'0,"0"0"-7404"0"0,0 0-1 0 0,-1 0 1 0 0,1 0-1 0 0,0 0 0 0 0,0 0 1 0 0,0 0-1 0 0,-1 0 1 0 0,1 0-1 0 0,0 1 1 0 0,0-1-1 0 0,0 0 1 0 0,-1 0-1 0 0,1 0 0 0 0,0 0 1 0 0,0 0-1 0 0,0 1 1 0 0,0-1-1 0 0,-1 0 1 0 0,1 0-1 0 0,0 0 0 0 0,0 1 1 0 0,0-1-1 0 0,0 0 1 0 0,0 0-1 0 0,0 0 1 0 0,0 1-1 0 0,0-1 0 0 0,0 0 1 0 0,0 0-1 0 0,0 0 1 0 0,0 1-1 0 0,0-1 1 0 0,9 3-1374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2-07T21:58:30.916"/>
    </inkml:context>
    <inkml:brush xml:id="br0">
      <inkml:brushProperty name="width" value="0.05" units="cm"/>
      <inkml:brushProperty name="height" value="0.05" units="cm"/>
    </inkml:brush>
  </inkml:definitions>
  <inkml:trace contextRef="#ctx0" brushRef="#br0">0 1 4143 0 0,'0'0'202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8/1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1/2022 9: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1/2022 9: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4235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9.pn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74.png"/><Relationship Id="rId2" Type="http://schemas.openxmlformats.org/officeDocument/2006/relationships/image" Target="../media/image32.jpeg"/><Relationship Id="rId1" Type="http://schemas.openxmlformats.org/officeDocument/2006/relationships/slideMaster" Target="../slideMasters/slideMaster8.xml"/><Relationship Id="rId6" Type="http://schemas.openxmlformats.org/officeDocument/2006/relationships/customXml" Target="../ink/ink2.xml"/><Relationship Id="rId5" Type="http://schemas.openxmlformats.org/officeDocument/2006/relationships/image" Target="../media/image73.png"/><Relationship Id="rId4" Type="http://schemas.openxmlformats.org/officeDocument/2006/relationships/customXml" Target="../ink/ink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customXml" Target="../ink/ink3.xml"/><Relationship Id="rId1" Type="http://schemas.openxmlformats.org/officeDocument/2006/relationships/slideMaster" Target="../slideMasters/slideMaster8.xml"/><Relationship Id="rId5" Type="http://schemas.openxmlformats.org/officeDocument/2006/relationships/image" Target="../media/image8.emf"/><Relationship Id="rId4" Type="http://schemas.openxmlformats.org/officeDocument/2006/relationships/image" Target="../media/image33.pn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9.xml"/><Relationship Id="rId4" Type="http://schemas.openxmlformats.org/officeDocument/2006/relationships/image" Target="../media/image17.sv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50.jpe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2.xml"/><Relationship Id="rId4" Type="http://schemas.openxmlformats.org/officeDocument/2006/relationships/image" Target="../media/image31.jpeg"/></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3.xml"/><Relationship Id="rId4" Type="http://schemas.openxmlformats.org/officeDocument/2006/relationships/image" Target="../media/image5.jpe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5.xml"/><Relationship Id="rId4" Type="http://schemas.openxmlformats.org/officeDocument/2006/relationships/image" Target="../media/image25.jpeg"/></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6.xml"/><Relationship Id="rId4" Type="http://schemas.openxmlformats.org/officeDocument/2006/relationships/image" Target="../media/image5.jpe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10.emf"/><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1.jpeg"/><Relationship Id="rId1" Type="http://schemas.openxmlformats.org/officeDocument/2006/relationships/slideMaster" Target="../slideMasters/slideMaster1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8.xml"/><Relationship Id="rId4" Type="http://schemas.openxmlformats.org/officeDocument/2006/relationships/image" Target="../media/image17.svg"/></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5.png"/><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8.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8.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18.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18.xml"/><Relationship Id="rId4" Type="http://schemas.openxmlformats.org/officeDocument/2006/relationships/image" Target="../media/image71.jpeg"/></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18.xml"/><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18.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18.xml"/><Relationship Id="rId4" Type="http://schemas.openxmlformats.org/officeDocument/2006/relationships/image" Target="../media/image77.jpeg"/></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18.xml"/><Relationship Id="rId5" Type="http://schemas.openxmlformats.org/officeDocument/2006/relationships/image" Target="../media/image81.jpeg"/><Relationship Id="rId4" Type="http://schemas.openxmlformats.org/officeDocument/2006/relationships/image" Target="../media/image80.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18.xml"/><Relationship Id="rId6" Type="http://schemas.openxmlformats.org/officeDocument/2006/relationships/image" Target="../media/image82.jpeg"/><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18.xml"/><Relationship Id="rId4" Type="http://schemas.openxmlformats.org/officeDocument/2006/relationships/image" Target="../media/image71.jpe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18.xml"/><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Master" Target="../slideMasters/slideMaster18.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8.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8.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8.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8.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18.xml"/><Relationship Id="rId4" Type="http://schemas.openxmlformats.org/officeDocument/2006/relationships/image" Target="../media/image93.png"/></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8.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8.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9.xml"/><Relationship Id="rId4" Type="http://schemas.openxmlformats.org/officeDocument/2006/relationships/image" Target="../media/image95.svg"/></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9.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9.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19.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9.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19.xml"/><Relationship Id="rId4" Type="http://schemas.openxmlformats.org/officeDocument/2006/relationships/image" Target="../media/image101.pn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9.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20.xml"/><Relationship Id="rId4" Type="http://schemas.openxmlformats.org/officeDocument/2006/relationships/image" Target="../media/image95.svg"/></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20.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0.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2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05.png"/><Relationship Id="rId1" Type="http://schemas.openxmlformats.org/officeDocument/2006/relationships/slideMaster" Target="../slideMasters/slideMaster20.xml"/><Relationship Id="rId4" Type="http://schemas.openxmlformats.org/officeDocument/2006/relationships/image" Target="../media/image106.png"/></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0.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0.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21.xml"/><Relationship Id="rId4" Type="http://schemas.openxmlformats.org/officeDocument/2006/relationships/image" Target="../media/image95.svg"/></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5.png"/><Relationship Id="rId1" Type="http://schemas.openxmlformats.org/officeDocument/2006/relationships/slideMaster" Target="../slideMasters/slideMaster21.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1.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1.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1.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1.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1.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1.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1.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1.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21.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4" Type="http://schemas.openxmlformats.org/officeDocument/2006/relationships/image" Target="../media/image71.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21.xml"/></Relationships>
</file>

<file path=ppt/slideLayouts/_rels/slideLayout71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21.xml"/><Relationship Id="rId4" Type="http://schemas.openxmlformats.org/officeDocument/2006/relationships/image" Target="../media/image77.jpeg"/></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Master" Target="../slideMasters/slideMaster21.xml"/><Relationship Id="rId5" Type="http://schemas.openxmlformats.org/officeDocument/2006/relationships/image" Target="../media/image81.jpeg"/><Relationship Id="rId4" Type="http://schemas.openxmlformats.org/officeDocument/2006/relationships/image" Target="../media/image80.jpeg"/></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6" Type="http://schemas.openxmlformats.org/officeDocument/2006/relationships/image" Target="../media/image82.jpeg"/><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4" Type="http://schemas.openxmlformats.org/officeDocument/2006/relationships/image" Target="../media/image71.jpeg"/></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4.jpeg"/><Relationship Id="rId1" Type="http://schemas.openxmlformats.org/officeDocument/2006/relationships/slideMaster" Target="../slideMasters/slideMaster21.xml"/><Relationship Id="rId6" Type="http://schemas.openxmlformats.org/officeDocument/2006/relationships/image" Target="../media/image82.jpeg"/><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21.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1.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21.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1.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1.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22.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22.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2.png"/><Relationship Id="rId1" Type="http://schemas.openxmlformats.org/officeDocument/2006/relationships/slideMaster" Target="../slideMasters/slideMaster22.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2.png"/><Relationship Id="rId1" Type="http://schemas.openxmlformats.org/officeDocument/2006/relationships/slideMaster" Target="../slideMasters/slideMaster22.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5.jpeg"/></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8784194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275876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5714013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093771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5579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44278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7227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600243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5795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541498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1144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8/11/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3149909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41517820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1285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3127969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96629076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8719820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4514" y="1296364"/>
            <a:ext cx="6470196" cy="1667922"/>
          </a:xfrm>
          <a:prstGeom prst="rect">
            <a:avLst/>
          </a:prstGeom>
        </p:spPr>
      </p:pic>
    </p:spTree>
    <p:extLst>
      <p:ext uri="{BB962C8B-B14F-4D97-AF65-F5344CB8AC3E}">
        <p14:creationId xmlns:p14="http://schemas.microsoft.com/office/powerpoint/2010/main" val="2924240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userDrawn="1">
          <p15:clr>
            <a:srgbClr val="5ACBF0"/>
          </p15:clr>
        </p15:guide>
        <p15:guide id="4" pos="3660">
          <p15:clr>
            <a:srgbClr val="5ACBF0"/>
          </p15:clr>
        </p15:guide>
        <p15:guide id="5" pos="402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userDrawn="1">
          <p15:clr>
            <a:srgbClr val="5ACBF0"/>
          </p15:clr>
        </p15:guide>
        <p15:guide id="4" pos="3656">
          <p15:clr>
            <a:srgbClr val="5ACBF0"/>
          </p15:clr>
        </p15:guide>
        <p15:guide id="5" pos="402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231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3494949"/>
      </p:ext>
    </p:extLst>
  </p:cSld>
  <p:clrMapOvr>
    <a:masterClrMapping/>
  </p:clrMapOvr>
  <p:transition>
    <p:fade/>
  </p:transition>
  <p:extLst>
    <p:ext uri="{DCECCB84-F9BA-43D5-87BE-67443E8EF086}">
      <p15:sldGuideLst xmlns:p15="http://schemas.microsoft.com/office/powerpoint/2012/main">
        <p15:guide id="3" orient="horz" pos="1506" userDrawn="1">
          <p15:clr>
            <a:srgbClr val="5ACBF0"/>
          </p15:clr>
        </p15:guide>
        <p15:guide id="4" orient="horz" pos="906" userDrawn="1">
          <p15:clr>
            <a:srgbClr val="5ACBF0"/>
          </p15:clr>
        </p15:guide>
        <p15:guide id="5" orient="horz" pos="288">
          <p15:clr>
            <a:srgbClr val="5ACBF0"/>
          </p15:clr>
        </p15:guide>
        <p15:guide id="6" pos="2430" userDrawn="1">
          <p15:clr>
            <a:srgbClr val="5ACBF0"/>
          </p15:clr>
        </p15:guide>
        <p15:guide id="7" pos="2811" userDrawn="1">
          <p15:clr>
            <a:srgbClr val="5ACBF0"/>
          </p15:clr>
        </p15:guide>
        <p15:guide id="8" pos="4871" userDrawn="1">
          <p15:clr>
            <a:srgbClr val="5ACBF0"/>
          </p15:clr>
        </p15:guide>
        <p15:guide id="9" pos="525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703242"/>
      </p:ext>
    </p:extLst>
  </p:cSld>
  <p:clrMapOvr>
    <a:masterClrMapping/>
  </p:clrMapOvr>
  <p:transition>
    <p:fade/>
  </p:transition>
  <p:extLst>
    <p:ext uri="{DCECCB84-F9BA-43D5-87BE-67443E8EF086}">
      <p15:sldGuideLst xmlns:p15="http://schemas.microsoft.com/office/powerpoint/2012/main">
        <p15:guide id="4" orient="horz" pos="906" userDrawn="1">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767064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699754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530179"/>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7612341"/>
      </p:ext>
    </p:extLst>
  </p:cSld>
  <p:clrMapOvr>
    <a:masterClrMapping/>
  </p:clrMapOvr>
  <p:transition>
    <p:fade/>
  </p:transition>
  <p:extLst>
    <p:ext uri="{DCECCB84-F9BA-43D5-87BE-67443E8EF086}">
      <p15:sldGuideLst xmlns:p15="http://schemas.microsoft.com/office/powerpoint/2012/main">
        <p15:guide id="1" orient="horz" pos="751" userDrawn="1">
          <p15:clr>
            <a:srgbClr val="FBAE40"/>
          </p15:clr>
        </p15:guide>
        <p15:guide id="2" orient="horz" pos="3131" userDrawn="1">
          <p15:clr>
            <a:srgbClr val="5ACBF0"/>
          </p15:clr>
        </p15:guide>
        <p15:guide id="3" pos="3840" userDrawn="1">
          <p15:clr>
            <a:srgbClr val="5ACBF0"/>
          </p15:clr>
        </p15:guide>
        <p15:guide id="4" pos="1904" userDrawn="1">
          <p15:clr>
            <a:srgbClr val="5ACBF0"/>
          </p15:clr>
        </p15:guide>
        <p15:guide id="5" pos="5775" userDrawn="1">
          <p15:clr>
            <a:srgbClr val="5ACBF0"/>
          </p15:clr>
        </p15:guide>
        <p15:guide id="6" pos="1104" userDrawn="1">
          <p15:clr>
            <a:srgbClr val="5ACBF0"/>
          </p15:clr>
        </p15:guide>
        <p15:guide id="7" pos="2705" userDrawn="1">
          <p15:clr>
            <a:srgbClr val="5ACBF0"/>
          </p15:clr>
        </p15:guide>
        <p15:guide id="8" pos="3043" userDrawn="1">
          <p15:clr>
            <a:srgbClr val="5ACBF0"/>
          </p15:clr>
        </p15:guide>
        <p15:guide id="9" pos="4642" userDrawn="1">
          <p15:clr>
            <a:srgbClr val="5ACBF0"/>
          </p15:clr>
        </p15:guide>
        <p15:guide id="10" pos="4980" userDrawn="1">
          <p15:clr>
            <a:srgbClr val="5ACBF0"/>
          </p15:clr>
        </p15:guide>
        <p15:guide id="11" pos="6576" userDrawn="1">
          <p15:clr>
            <a:srgbClr val="5ACBF0"/>
          </p15:clr>
        </p15:guide>
        <p15:guide id="12" orient="horz" pos="1502" userDrawn="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129497"/>
      </p:ext>
    </p:extLst>
  </p:cSld>
  <p:clrMapOvr>
    <a:masterClrMapping/>
  </p:clrMapOvr>
  <p:transition>
    <p:fade/>
  </p:transition>
  <p:extLst>
    <p:ext uri="{DCECCB84-F9BA-43D5-87BE-67443E8EF086}">
      <p15:sldGuideLst xmlns:p15="http://schemas.microsoft.com/office/powerpoint/2012/main">
        <p15:guide id="1" orient="horz" pos="751" userDrawn="1">
          <p15:clr>
            <a:srgbClr val="FBAE40"/>
          </p15:clr>
        </p15:guide>
        <p15:guide id="2" orient="horz" pos="3138" userDrawn="1">
          <p15:clr>
            <a:srgbClr val="5ACBF0"/>
          </p15:clr>
        </p15:guide>
        <p15:guide id="3" pos="3937" userDrawn="1">
          <p15:clr>
            <a:srgbClr val="5ACBF0"/>
          </p15:clr>
        </p15:guide>
        <p15:guide id="4" pos="1961" userDrawn="1">
          <p15:clr>
            <a:srgbClr val="5ACBF0"/>
          </p15:clr>
        </p15:guide>
        <p15:guide id="5" pos="5717" userDrawn="1">
          <p15:clr>
            <a:srgbClr val="5ACBF0"/>
          </p15:clr>
        </p15:guide>
        <p15:guide id="6" pos="5534" userDrawn="1">
          <p15:clr>
            <a:srgbClr val="5ACBF0"/>
          </p15:clr>
        </p15:guide>
        <p15:guide id="7" pos="3760" userDrawn="1">
          <p15:clr>
            <a:srgbClr val="5ACBF0"/>
          </p15:clr>
        </p15:guide>
        <p15:guide id="8" pos="2162" userDrawn="1">
          <p15:clr>
            <a:srgbClr val="5ACBF0"/>
          </p15:clr>
        </p15:guide>
        <p15:guide id="10" pos="2955" userDrawn="1">
          <p15:clr>
            <a:srgbClr val="5ACBF0"/>
          </p15:clr>
        </p15:guide>
        <p15:guide id="11" pos="4727" userDrawn="1">
          <p15:clr>
            <a:srgbClr val="5ACBF0"/>
          </p15:clr>
        </p15:guide>
        <p15:guide id="12" pos="6515" userDrawn="1">
          <p15:clr>
            <a:srgbClr val="5ACBF0"/>
          </p15:clr>
        </p15:guide>
        <p15:guide id="13" pos="1176" userDrawn="1">
          <p15:clr>
            <a:srgbClr val="5ACBF0"/>
          </p15:clr>
        </p15:guide>
        <p15:guide id="14" orient="horz" pos="1504" userDrawn="1">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3011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48479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784808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23353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257223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8263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38079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8263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 sty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38079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91134910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3051486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938138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317054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81639562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2253254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88281531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96480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65840786"/>
      </p:ext>
    </p:extLst>
  </p:cSld>
  <p:clrMapOvr>
    <a:masterClrMapping/>
  </p:clrMapOvr>
  <p:transition>
    <p:fade/>
  </p:transition>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7659650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9897310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27130418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85620408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01728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47473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44854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C02C8-C3EC-47CD-8B34-98909569775F}"/>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9985532D-26B8-4FBC-A5CB-E4983CAB17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D6869078-E666-4D04-B77A-23D3D21FD2BB}"/>
              </a:ext>
            </a:extLst>
          </p:cNvPr>
          <p:cNvSpPr>
            <a:spLocks noGrp="1"/>
          </p:cNvSpPr>
          <p:nvPr>
            <p:ph type="dt" sz="half" idx="10"/>
          </p:nvPr>
        </p:nvSpPr>
        <p:spPr/>
        <p:txBody>
          <a:bodyPr/>
          <a:lstStyle/>
          <a:p>
            <a:fld id="{9DE2E959-8A04-441B-9781-34BAE789229E}" type="datetimeFigureOut">
              <a:rPr lang="fr-FR" smtClean="0"/>
              <a:t>11/08/2022</a:t>
            </a:fld>
            <a:endParaRPr lang="fr-FR"/>
          </a:p>
        </p:txBody>
      </p:sp>
      <p:sp>
        <p:nvSpPr>
          <p:cNvPr id="5" name="Footer Placeholder 4">
            <a:extLst>
              <a:ext uri="{FF2B5EF4-FFF2-40B4-BE49-F238E27FC236}">
                <a16:creationId xmlns:a16="http://schemas.microsoft.com/office/drawing/2014/main" id="{681DD90A-A8D4-4C28-BC7B-2536B053F82E}"/>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91D63EE0-1944-448B-BB7C-F316487361FC}"/>
              </a:ext>
            </a:extLst>
          </p:cNvPr>
          <p:cNvSpPr>
            <a:spLocks noGrp="1"/>
          </p:cNvSpPr>
          <p:nvPr>
            <p:ph type="sldNum" sz="quarter" idx="12"/>
          </p:nvPr>
        </p:nvSpPr>
        <p:spPr/>
        <p:txBody>
          <a:bodyPr/>
          <a:lstStyle/>
          <a:p>
            <a:fld id="{178D28D8-0AA7-46A8-9FBA-1DBA9C32EEB6}" type="slidenum">
              <a:rPr lang="fr-FR" smtClean="0"/>
              <a:t>‹#›</a:t>
            </a:fld>
            <a:endParaRPr lang="fr-FR"/>
          </a:p>
        </p:txBody>
      </p:sp>
    </p:spTree>
    <p:extLst>
      <p:ext uri="{BB962C8B-B14F-4D97-AF65-F5344CB8AC3E}">
        <p14:creationId xmlns:p14="http://schemas.microsoft.com/office/powerpoint/2010/main" val="217615464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4604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383118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56561851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895772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1B805-BFFA-4F4F-B59C-CB77BE09EB4D}"/>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13E29C95-1A52-4144-A954-CD8ECF7F3F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8E0C8F92-5D5B-4E05-8E45-E4796418C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3990331C-7448-4CB6-AAAC-B36C4F2FF52E}"/>
              </a:ext>
            </a:extLst>
          </p:cNvPr>
          <p:cNvSpPr>
            <a:spLocks noGrp="1"/>
          </p:cNvSpPr>
          <p:nvPr>
            <p:ph type="dt" sz="half" idx="10"/>
          </p:nvPr>
        </p:nvSpPr>
        <p:spPr/>
        <p:txBody>
          <a:bodyPr/>
          <a:lstStyle/>
          <a:p>
            <a:fld id="{BCDE5290-9C69-4EC5-8A91-4CE37F273572}" type="datetimeFigureOut">
              <a:rPr lang="fr-FR" smtClean="0"/>
              <a:t>11/08/2022</a:t>
            </a:fld>
            <a:endParaRPr lang="fr-FR"/>
          </a:p>
        </p:txBody>
      </p:sp>
      <p:sp>
        <p:nvSpPr>
          <p:cNvPr id="6" name="Footer Placeholder 5">
            <a:extLst>
              <a:ext uri="{FF2B5EF4-FFF2-40B4-BE49-F238E27FC236}">
                <a16:creationId xmlns:a16="http://schemas.microsoft.com/office/drawing/2014/main" id="{73B9C188-927D-46A3-83E1-F17C3E68B846}"/>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71019835-F023-48B5-822C-A27EB559209F}"/>
              </a:ext>
            </a:extLst>
          </p:cNvPr>
          <p:cNvSpPr>
            <a:spLocks noGrp="1"/>
          </p:cNvSpPr>
          <p:nvPr>
            <p:ph type="sldNum" sz="quarter" idx="12"/>
          </p:nvPr>
        </p:nvSpPr>
        <p:spPr/>
        <p:txBody>
          <a:bodyPr/>
          <a:lstStyle/>
          <a:p>
            <a:fld id="{003088C4-9DE6-4EDA-8DCC-6944DA0700AD}" type="slidenum">
              <a:rPr lang="fr-FR" smtClean="0"/>
              <a:t>‹#›</a:t>
            </a:fld>
            <a:endParaRPr lang="fr-FR"/>
          </a:p>
        </p:txBody>
      </p:sp>
    </p:spTree>
    <p:extLst>
      <p:ext uri="{BB962C8B-B14F-4D97-AF65-F5344CB8AC3E}">
        <p14:creationId xmlns:p14="http://schemas.microsoft.com/office/powerpoint/2010/main" val="26893798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9FD51-ED57-41C4-8C51-6C09640F97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7C222C-EA80-481F-9655-9CE5A4EDFC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7B7C2C-C24E-4900-AFE2-A4F05AA89855}"/>
              </a:ext>
            </a:extLst>
          </p:cNvPr>
          <p:cNvSpPr>
            <a:spLocks noGrp="1"/>
          </p:cNvSpPr>
          <p:nvPr>
            <p:ph type="dt" sz="half" idx="10"/>
          </p:nvPr>
        </p:nvSpPr>
        <p:spPr/>
        <p:txBody>
          <a:bodyPr/>
          <a:lstStyle/>
          <a:p>
            <a:fld id="{F307F4B1-3A30-482A-AF8E-BB113566CAA6}" type="datetimeFigureOut">
              <a:rPr lang="en-US" smtClean="0"/>
              <a:t>8/11/2022</a:t>
            </a:fld>
            <a:endParaRPr lang="en-US"/>
          </a:p>
        </p:txBody>
      </p:sp>
      <p:sp>
        <p:nvSpPr>
          <p:cNvPr id="5" name="Footer Placeholder 4">
            <a:extLst>
              <a:ext uri="{FF2B5EF4-FFF2-40B4-BE49-F238E27FC236}">
                <a16:creationId xmlns:a16="http://schemas.microsoft.com/office/drawing/2014/main" id="{DF689458-E782-4384-91D8-BE2BB3284F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681C1A-033C-4390-BC4B-6605CBFDC759}"/>
              </a:ext>
            </a:extLst>
          </p:cNvPr>
          <p:cNvSpPr>
            <a:spLocks noGrp="1"/>
          </p:cNvSpPr>
          <p:nvPr>
            <p:ph type="sldNum" sz="quarter" idx="12"/>
          </p:nvPr>
        </p:nvSpPr>
        <p:spPr/>
        <p:txBody>
          <a:bodyPr/>
          <a:lstStyle/>
          <a:p>
            <a:fld id="{65CAA4F4-254C-423A-AB08-3A6B448016C0}" type="slidenum">
              <a:rPr lang="en-US" smtClean="0"/>
              <a:t>‹#›</a:t>
            </a:fld>
            <a:endParaRPr lang="en-US"/>
          </a:p>
        </p:txBody>
      </p:sp>
    </p:spTree>
    <p:extLst>
      <p:ext uri="{BB962C8B-B14F-4D97-AF65-F5344CB8AC3E}">
        <p14:creationId xmlns:p14="http://schemas.microsoft.com/office/powerpoint/2010/main" val="18371516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2"/>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2724F440-1A5B-45DB-8032-8C56FEA82DC1}"/>
              </a:ext>
            </a:extLst>
          </p:cNvPr>
          <p:cNvSpPr txBox="1">
            <a:spLocks/>
          </p:cNvSpPr>
          <p:nvPr userDrawn="1"/>
        </p:nvSpPr>
        <p:spPr>
          <a:xfrm>
            <a:off x="485204" y="6607631"/>
            <a:ext cx="4242463" cy="217880"/>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 2020 Microsoft Corporation All rights reserved. </a:t>
            </a:r>
          </a:p>
        </p:txBody>
      </p:sp>
    </p:spTree>
    <p:extLst>
      <p:ext uri="{BB962C8B-B14F-4D97-AF65-F5344CB8AC3E}">
        <p14:creationId xmlns:p14="http://schemas.microsoft.com/office/powerpoint/2010/main" val="3860116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2_Title Slide">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A41386-D8F8-463E-B932-973A0150C8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966" b="3931"/>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66F57C9-8D6E-4186-8AD6-442412829F00}"/>
              </a:ext>
            </a:extLst>
          </p:cNvPr>
          <p:cNvSpPr/>
          <p:nvPr userDrawn="1"/>
        </p:nvSpPr>
        <p:spPr bwMode="auto">
          <a:xfrm>
            <a:off x="0" y="0"/>
            <a:ext cx="12192000" cy="6858000"/>
          </a:xfrm>
          <a:prstGeom prst="rect">
            <a:avLst/>
          </a:prstGeom>
          <a:gradFill>
            <a:gsLst>
              <a:gs pos="15000">
                <a:schemeClr val="accent2">
                  <a:alpha val="94000"/>
                </a:schemeClr>
              </a:gs>
              <a:gs pos="100000">
                <a:srgbClr val="000000">
                  <a:alpha val="32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852626" y="1865047"/>
            <a:ext cx="8964185" cy="1793090"/>
          </a:xfrm>
          <a:noFill/>
        </p:spPr>
        <p:txBody>
          <a:bodyPr lIns="146304" tIns="91440" rIns="146304" bIns="91440" anchor="b" anchorCtr="0"/>
          <a:lstStyle>
            <a:lvl1pPr>
              <a:defRPr sz="44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852625" y="3878574"/>
            <a:ext cx="8964185" cy="1792326"/>
          </a:xfrm>
          <a:noFill/>
        </p:spPr>
        <p:txBody>
          <a:bodyPr lIns="164592"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1C317013-79F0-4049-8BF4-44E41FE79612}"/>
                  </a:ext>
                </a:extLst>
              </p14:cNvPr>
              <p14:cNvContentPartPr/>
              <p14:nvPr userDrawn="1"/>
            </p14:nvContentPartPr>
            <p14:xfrm>
              <a:off x="11308785" y="2048426"/>
              <a:ext cx="51120" cy="58320"/>
            </p14:xfrm>
          </p:contentPart>
        </mc:Choice>
        <mc:Fallback xmlns="">
          <p:pic>
            <p:nvPicPr>
              <p:cNvPr id="2" name="Ink 1">
                <a:extLst>
                  <a:ext uri="{FF2B5EF4-FFF2-40B4-BE49-F238E27FC236}">
                    <a16:creationId xmlns:a16="http://schemas.microsoft.com/office/drawing/2014/main" id="{1C317013-79F0-4049-8BF4-44E41FE79612}"/>
                  </a:ext>
                </a:extLst>
              </p:cNvPr>
              <p:cNvPicPr/>
              <p:nvPr/>
            </p:nvPicPr>
            <p:blipFill>
              <a:blip r:embed="rId5"/>
              <a:stretch>
                <a:fillRect/>
              </a:stretch>
            </p:blipFill>
            <p:spPr>
              <a:xfrm>
                <a:off x="11299721" y="2039426"/>
                <a:ext cx="68885"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4B37987E-B239-4D7D-B80E-83D09E2933CA}"/>
                  </a:ext>
                </a:extLst>
              </p14:cNvPr>
              <p14:cNvContentPartPr/>
              <p14:nvPr userDrawn="1"/>
            </p14:nvContentPartPr>
            <p14:xfrm>
              <a:off x="1319145" y="6246386"/>
              <a:ext cx="3960" cy="3240"/>
            </p14:xfrm>
          </p:contentPart>
        </mc:Choice>
        <mc:Fallback xmlns="">
          <p:pic>
            <p:nvPicPr>
              <p:cNvPr id="3" name="Ink 2">
                <a:extLst>
                  <a:ext uri="{FF2B5EF4-FFF2-40B4-BE49-F238E27FC236}">
                    <a16:creationId xmlns:a16="http://schemas.microsoft.com/office/drawing/2014/main" id="{4B37987E-B239-4D7D-B80E-83D09E2933CA}"/>
                  </a:ext>
                </a:extLst>
              </p:cNvPr>
              <p:cNvPicPr/>
              <p:nvPr/>
            </p:nvPicPr>
            <p:blipFill>
              <a:blip r:embed="rId7"/>
              <a:stretch>
                <a:fillRect/>
              </a:stretch>
            </p:blipFill>
            <p:spPr>
              <a:xfrm>
                <a:off x="1309245" y="6237386"/>
                <a:ext cx="23364" cy="20880"/>
              </a:xfrm>
              <a:prstGeom prst="rect">
                <a:avLst/>
              </a:prstGeom>
            </p:spPr>
          </p:pic>
        </mc:Fallback>
      </mc:AlternateContent>
    </p:spTree>
    <p:extLst>
      <p:ext uri="{BB962C8B-B14F-4D97-AF65-F5344CB8AC3E}">
        <p14:creationId xmlns:p14="http://schemas.microsoft.com/office/powerpoint/2010/main" val="1287442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Video slide">
    <p:bg>
      <p:bgPr>
        <a:solidFill>
          <a:srgbClr val="000000"/>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8625777D-F7A0-4BFB-9DFE-C1222AF68C2A}"/>
                  </a:ext>
                </a:extLst>
              </p14:cNvPr>
              <p14:cNvContentPartPr/>
              <p14:nvPr userDrawn="1"/>
            </p14:nvContentPartPr>
            <p14:xfrm>
              <a:off x="8079225" y="3175226"/>
              <a:ext cx="360" cy="360"/>
            </p14:xfrm>
          </p:contentPart>
        </mc:Choice>
        <mc:Fallback xmlns="">
          <p:pic>
            <p:nvPicPr>
              <p:cNvPr id="3" name="Ink 2">
                <a:extLst>
                  <a:ext uri="{FF2B5EF4-FFF2-40B4-BE49-F238E27FC236}">
                    <a16:creationId xmlns:a16="http://schemas.microsoft.com/office/drawing/2014/main" id="{8625777D-F7A0-4BFB-9DFE-C1222AF68C2A}"/>
                  </a:ext>
                </a:extLst>
              </p:cNvPr>
              <p:cNvPicPr/>
              <p:nvPr/>
            </p:nvPicPr>
            <p:blipFill>
              <a:blip r:embed="rId3"/>
              <a:stretch>
                <a:fillRect/>
              </a:stretch>
            </p:blipFill>
            <p:spPr>
              <a:xfrm>
                <a:off x="8070225" y="3166226"/>
                <a:ext cx="18000" cy="18000"/>
              </a:xfrm>
              <a:prstGeom prst="rect">
                <a:avLst/>
              </a:prstGeom>
            </p:spPr>
          </p:pic>
        </mc:Fallback>
      </mc:AlternateContent>
      <p:pic>
        <p:nvPicPr>
          <p:cNvPr id="5" name="Picture 4">
            <a:extLst>
              <a:ext uri="{FF2B5EF4-FFF2-40B4-BE49-F238E27FC236}">
                <a16:creationId xmlns:a16="http://schemas.microsoft.com/office/drawing/2014/main" id="{356E33B7-44A4-46D6-A4EE-35C57244219C}"/>
              </a:ext>
            </a:extLst>
          </p:cNvPr>
          <p:cNvPicPr>
            <a:picLocks noChangeAspect="1"/>
          </p:cNvPicPr>
          <p:nvPr userDrawn="1"/>
        </p:nvPicPr>
        <p:blipFill rotWithShape="1">
          <a:blip r:embed="rId4"/>
          <a:srcRect l="1600"/>
          <a:stretch/>
        </p:blipFill>
        <p:spPr>
          <a:xfrm>
            <a:off x="4572000" y="0"/>
            <a:ext cx="7620000" cy="4788572"/>
          </a:xfrm>
          <a:prstGeom prst="rect">
            <a:avLst/>
          </a:prstGeom>
        </p:spPr>
      </p:pic>
      <p:pic>
        <p:nvPicPr>
          <p:cNvPr id="7" name="MS logo white - EMF">
            <a:extLst>
              <a:ext uri="{FF2B5EF4-FFF2-40B4-BE49-F238E27FC236}">
                <a16:creationId xmlns:a16="http://schemas.microsoft.com/office/drawing/2014/main" id="{E56C9B2E-1217-481E-83A5-5A3943658DD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560117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47209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35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47213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9452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6366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64656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0501255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3356B-4D7A-40DD-8FAF-1CEEF603E2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0E857BF-B39B-4B42-99AA-79A8BDADFD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563AD0D-5EB4-437F-A6C3-086B4A7839CC}"/>
              </a:ext>
            </a:extLst>
          </p:cNvPr>
          <p:cNvSpPr>
            <a:spLocks noGrp="1"/>
          </p:cNvSpPr>
          <p:nvPr>
            <p:ph type="dt" sz="half" idx="10"/>
          </p:nvPr>
        </p:nvSpPr>
        <p:spPr/>
        <p:txBody>
          <a:bodyPr/>
          <a:lstStyle/>
          <a:p>
            <a:fld id="{024B6D4E-CA1C-46E5-95A4-7652376E67F6}" type="datetimeFigureOut">
              <a:rPr lang="en-US" smtClean="0"/>
              <a:t>8/11/2022</a:t>
            </a:fld>
            <a:endParaRPr lang="en-US"/>
          </a:p>
        </p:txBody>
      </p:sp>
      <p:sp>
        <p:nvSpPr>
          <p:cNvPr id="5" name="Footer Placeholder 4">
            <a:extLst>
              <a:ext uri="{FF2B5EF4-FFF2-40B4-BE49-F238E27FC236}">
                <a16:creationId xmlns:a16="http://schemas.microsoft.com/office/drawing/2014/main" id="{039BC964-1391-4737-A088-191D667C55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93A8AC-2059-4826-84A6-2382D5123DA7}"/>
              </a:ext>
            </a:extLst>
          </p:cNvPr>
          <p:cNvSpPr>
            <a:spLocks noGrp="1"/>
          </p:cNvSpPr>
          <p:nvPr>
            <p:ph type="sldNum" sz="quarter" idx="12"/>
          </p:nvPr>
        </p:nvSpPr>
        <p:spPr/>
        <p:txBody>
          <a:bodyPr/>
          <a:lstStyle/>
          <a:p>
            <a:fld id="{B4E8400C-DEE6-49EA-8795-3EA1B0E12419}" type="slidenum">
              <a:rPr lang="en-US" smtClean="0"/>
              <a:t>‹#›</a:t>
            </a:fld>
            <a:endParaRPr lang="en-US"/>
          </a:p>
        </p:txBody>
      </p:sp>
    </p:spTree>
    <p:extLst>
      <p:ext uri="{BB962C8B-B14F-4D97-AF65-F5344CB8AC3E}">
        <p14:creationId xmlns:p14="http://schemas.microsoft.com/office/powerpoint/2010/main" val="386495512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7218466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7780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110838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048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9677856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3804956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235943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0165397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9386839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2310726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8868793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23460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93082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2893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gradFill>
                  <a:gsLst>
                    <a:gs pos="0">
                      <a:schemeClr val="tx1"/>
                    </a:gs>
                    <a:gs pos="100000">
                      <a:schemeClr val="tx1"/>
                    </a:gs>
                  </a:gsLst>
                  <a:lin ang="5400000" scaled="0"/>
                </a:gra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gradFill>
                  <a:gsLst>
                    <a:gs pos="0">
                      <a:schemeClr val="tx1"/>
                    </a:gs>
                    <a:gs pos="100000">
                      <a:schemeClr val="tx1"/>
                    </a:gs>
                  </a:gsLst>
                  <a:lin ang="5400000" scaled="0"/>
                </a:gra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69744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gradFill>
                  <a:gsLst>
                    <a:gs pos="0">
                      <a:schemeClr val="bg1"/>
                    </a:gs>
                    <a:gs pos="100000">
                      <a:schemeClr val="bg1"/>
                    </a:gs>
                  </a:gsLst>
                  <a:lin ang="5400000" scaled="0"/>
                </a:gra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gradFill>
                  <a:gsLst>
                    <a:gs pos="0">
                      <a:schemeClr val="bg1"/>
                    </a:gs>
                    <a:gs pos="100000">
                      <a:schemeClr val="bg1"/>
                    </a:gs>
                  </a:gsLst>
                  <a:lin ang="5400000" scaled="0"/>
                </a:gra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197474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gradFill>
                  <a:gsLst>
                    <a:gs pos="0">
                      <a:schemeClr val="tx1"/>
                    </a:gs>
                    <a:gs pos="100000">
                      <a:schemeClr val="tx1"/>
                    </a:gs>
                  </a:gsLst>
                  <a:lin ang="5400000" scaled="0"/>
                </a:gra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gradFill>
                  <a:gsLst>
                    <a:gs pos="0">
                      <a:schemeClr val="accent1"/>
                    </a:gs>
                    <a:gs pos="100000">
                      <a:schemeClr val="accent1"/>
                    </a:gs>
                  </a:gsLst>
                  <a:lin ang="5400000" scaled="0"/>
                </a:gra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997410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gradFill>
                  <a:gsLst>
                    <a:gs pos="0">
                      <a:schemeClr val="tx1"/>
                    </a:gs>
                    <a:gs pos="100000">
                      <a:schemeClr val="tx1"/>
                    </a:gs>
                  </a:gsLst>
                  <a:lin ang="5400000" scaled="0"/>
                </a:gradFill>
                <a:latin typeface="+mn-lt"/>
              </a:defRPr>
            </a:lvl1pPr>
            <a:lvl2pPr marL="224097" indent="0">
              <a:lnSpc>
                <a:spcPct val="90000"/>
              </a:lnSpc>
              <a:spcBef>
                <a:spcPts val="0"/>
              </a:spcBef>
              <a:spcAft>
                <a:spcPts val="1274"/>
              </a:spcAft>
              <a:buNone/>
              <a:defRPr sz="1961">
                <a:gradFill>
                  <a:gsLst>
                    <a:gs pos="0">
                      <a:schemeClr val="tx1"/>
                    </a:gs>
                    <a:gs pos="100000">
                      <a:schemeClr val="tx1"/>
                    </a:gs>
                  </a:gsLst>
                  <a:lin ang="5400000" scaled="0"/>
                </a:gradFill>
              </a:defRPr>
            </a:lvl2pPr>
            <a:lvl3pPr marL="448193" indent="0">
              <a:spcBef>
                <a:spcPts val="0"/>
              </a:spcBef>
              <a:spcAft>
                <a:spcPts val="1274"/>
              </a:spcAft>
              <a:buNone/>
              <a:defRPr sz="1961">
                <a:gradFill>
                  <a:gsLst>
                    <a:gs pos="0">
                      <a:schemeClr val="tx1"/>
                    </a:gs>
                    <a:gs pos="100000">
                      <a:schemeClr val="tx1"/>
                    </a:gs>
                  </a:gsLst>
                  <a:lin ang="5400000" scaled="0"/>
                </a:gra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80803996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gradFill>
                  <a:gsLst>
                    <a:gs pos="0">
                      <a:schemeClr val="tx1"/>
                    </a:gs>
                    <a:gs pos="100000">
                      <a:schemeClr val="tx1"/>
                    </a:gs>
                  </a:gsLst>
                  <a:lin ang="5400000" scaled="0"/>
                </a:gra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gradFill>
                  <a:gsLst>
                    <a:gs pos="0">
                      <a:schemeClr val="tx1"/>
                    </a:gs>
                    <a:gs pos="100000">
                      <a:schemeClr val="tx1"/>
                    </a:gs>
                  </a:gsLst>
                  <a:lin ang="5400000" scaled="0"/>
                </a:gradFill>
              </a:defRPr>
            </a:lvl2pPr>
            <a:lvl3pPr marL="806748" indent="-224097">
              <a:spcBef>
                <a:spcPts val="0"/>
              </a:spcBef>
              <a:spcAft>
                <a:spcPts val="1274"/>
              </a:spcAft>
              <a:buClr>
                <a:srgbClr val="000000"/>
              </a:buClr>
              <a:buSzPct val="77000"/>
              <a:buFont typeface="Arial" panose="020B0604020202020204" pitchFamily="34" charset="0"/>
              <a:buChar char="•"/>
              <a:defRPr sz="1961">
                <a:gradFill>
                  <a:gsLst>
                    <a:gs pos="0">
                      <a:schemeClr val="tx1"/>
                    </a:gs>
                    <a:gs pos="100000">
                      <a:schemeClr val="tx1"/>
                    </a:gs>
                  </a:gsLst>
                  <a:lin ang="5400000" scaled="0"/>
                </a:gra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gradFill>
                  <a:gsLst>
                    <a:gs pos="0">
                      <a:schemeClr val="tx1"/>
                    </a:gs>
                    <a:gs pos="100000">
                      <a:schemeClr val="tx1"/>
                    </a:gs>
                  </a:gsLst>
                  <a:lin ang="5400000" scaled="0"/>
                </a:gra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00716034"/>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191455176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4547666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gradFill>
                  <a:gsLst>
                    <a:gs pos="0">
                      <a:schemeClr val="tx1"/>
                    </a:gs>
                    <a:gs pos="100000">
                      <a:schemeClr val="tx1"/>
                    </a:gs>
                  </a:gsLst>
                  <a:lin ang="5400000" scaled="0"/>
                </a:gra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Device layout</a:t>
            </a:r>
          </a:p>
        </p:txBody>
      </p:sp>
    </p:spTree>
    <p:extLst>
      <p:ext uri="{BB962C8B-B14F-4D97-AF65-F5344CB8AC3E}">
        <p14:creationId xmlns:p14="http://schemas.microsoft.com/office/powerpoint/2010/main" val="4237042705"/>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45473706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gradFill>
                  <a:gsLst>
                    <a:gs pos="0">
                      <a:schemeClr val="tx1"/>
                    </a:gs>
                    <a:gs pos="100000">
                      <a:schemeClr val="tx1"/>
                    </a:gs>
                  </a:gsLst>
                  <a:lin ang="5400000" scaled="0"/>
                </a:gradFill>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lang="en-US" sz="1568" b="1" kern="1200" spc="0" baseline="0" dirty="0">
                <a:gradFill>
                  <a:gsLst>
                    <a:gs pos="0">
                      <a:schemeClr val="accent1"/>
                    </a:gs>
                    <a:gs pos="100000">
                      <a:schemeClr val="accent1"/>
                    </a:gs>
                  </a:gsLst>
                  <a:lin ang="5400000" scaled="0"/>
                </a:gradFill>
                <a:latin typeface="+mj-lt"/>
                <a:ea typeface="+mn-ea"/>
                <a:cs typeface="+mn-cs"/>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gradFill>
                  <a:gsLst>
                    <a:gs pos="0">
                      <a:schemeClr val="tx1"/>
                    </a:gs>
                    <a:gs pos="100000">
                      <a:schemeClr val="tx1"/>
                    </a:gs>
                  </a:gsLst>
                  <a:lin ang="5400000" scaled="0"/>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pPr>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555628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gradFill>
                  <a:gsLst>
                    <a:gs pos="0">
                      <a:schemeClr val="tx1"/>
                    </a:gs>
                    <a:gs pos="100000">
                      <a:schemeClr val="tx1"/>
                    </a:gs>
                  </a:gsLst>
                  <a:lin ang="5400000" scaled="0"/>
                </a:gra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able layout</a:t>
            </a:r>
          </a:p>
        </p:txBody>
      </p:sp>
    </p:spTree>
    <p:extLst>
      <p:ext uri="{BB962C8B-B14F-4D97-AF65-F5344CB8AC3E}">
        <p14:creationId xmlns:p14="http://schemas.microsoft.com/office/powerpoint/2010/main" val="60555508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gradFill>
                  <a:gsLst>
                    <a:gs pos="0">
                      <a:schemeClr val="tx1"/>
                    </a:gs>
                    <a:gs pos="100000">
                      <a:schemeClr val="tx1"/>
                    </a:gs>
                  </a:gsLst>
                  <a:lin ang="5400000" scaled="0"/>
                </a:gradFill>
              </a:defRPr>
            </a:lvl1pPr>
          </a:lstStyle>
          <a:p>
            <a:pPr marL="0" lvl="0">
              <a:lnSpc>
                <a:spcPts val="5490"/>
              </a:lnSpc>
            </a:pPr>
            <a:r>
              <a:rPr lang="en-US"/>
              <a:t>Section title</a:t>
            </a:r>
          </a:p>
        </p:txBody>
      </p:sp>
    </p:spTree>
    <p:extLst>
      <p:ext uri="{BB962C8B-B14F-4D97-AF65-F5344CB8AC3E}">
        <p14:creationId xmlns:p14="http://schemas.microsoft.com/office/powerpoint/2010/main" val="920691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gradFill>
                  <a:gsLst>
                    <a:gs pos="0">
                      <a:schemeClr val="tx1"/>
                    </a:gs>
                    <a:gs pos="100000">
                      <a:schemeClr val="tx1"/>
                    </a:gs>
                  </a:gsLst>
                  <a:lin ang="5400000" scaled="0"/>
                </a:gradFill>
              </a:defRPr>
            </a:lvl1pPr>
          </a:lstStyle>
          <a:p>
            <a:pPr marL="0" lvl="0">
              <a:lnSpc>
                <a:spcPts val="5490"/>
              </a:lnSpc>
            </a:pPr>
            <a:r>
              <a:rPr lang="en-US"/>
              <a:t>Section title</a:t>
            </a:r>
          </a:p>
        </p:txBody>
      </p:sp>
    </p:spTree>
    <p:extLst>
      <p:ext uri="{BB962C8B-B14F-4D97-AF65-F5344CB8AC3E}">
        <p14:creationId xmlns:p14="http://schemas.microsoft.com/office/powerpoint/2010/main" val="2364034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4_Section_title_slide">
    <p:bg>
      <p:bgPr>
        <a:solidFill>
          <a:srgbClr val="000000"/>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194408849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5_Section_title_slide">
    <p:bg>
      <p:bgPr>
        <a:solidFill>
          <a:srgbClr val="000000"/>
        </a:solidFill>
        <a:effectLst/>
      </p:bgPr>
    </p:bg>
    <p:spTree>
      <p:nvGrpSpPr>
        <p:cNvPr id="1" name=""/>
        <p:cNvGrpSpPr/>
        <p:nvPr/>
      </p:nvGrpSpPr>
      <p:grpSpPr>
        <a:xfrm>
          <a:off x="0" y="0"/>
          <a:ext cx="0" cy="0"/>
          <a:chOff x="0" y="0"/>
          <a:chExt cx="0" cy="0"/>
        </a:xfrm>
      </p:grpSpPr>
      <p:sp>
        <p:nvSpPr>
          <p:cNvPr id="9" name="Picture Placeholder">
            <a:extLst>
              <a:ext uri="{FF2B5EF4-FFF2-40B4-BE49-F238E27FC236}">
                <a16:creationId xmlns:a16="http://schemas.microsoft.com/office/drawing/2014/main" id="{DEB1002C-678D-4DE8-8F18-213FFC9924FF}"/>
              </a:ext>
            </a:extLst>
          </p:cNvPr>
          <p:cNvSpPr>
            <a:spLocks noGrp="1"/>
          </p:cNvSpPr>
          <p:nvPr>
            <p:ph type="pic" sz="quarter" idx="13" hasCustomPrompt="1"/>
          </p:nvPr>
        </p:nvSpPr>
        <p:spPr bwMode="gray">
          <a:xfrm>
            <a:off x="6265777" y="465889"/>
            <a:ext cx="5926223" cy="5926223"/>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297906060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6_Section_title_slide">
    <p:bg>
      <p:bgPr>
        <a:solidFill>
          <a:srgbClr val="000000"/>
        </a:solidFill>
        <a:effectLst/>
      </p:bgPr>
    </p:bg>
    <p:spTree>
      <p:nvGrpSpPr>
        <p:cNvPr id="1" name=""/>
        <p:cNvGrpSpPr/>
        <p:nvPr/>
      </p:nvGrpSpPr>
      <p:grpSpPr>
        <a:xfrm>
          <a:off x="0" y="0"/>
          <a:ext cx="0" cy="0"/>
          <a:chOff x="0" y="0"/>
          <a:chExt cx="0" cy="0"/>
        </a:xfrm>
      </p:grpSpPr>
      <p:sp>
        <p:nvSpPr>
          <p:cNvPr id="9" name="Picture Placeholder">
            <a:extLst>
              <a:ext uri="{FF2B5EF4-FFF2-40B4-BE49-F238E27FC236}">
                <a16:creationId xmlns:a16="http://schemas.microsoft.com/office/drawing/2014/main" id="{DEB1002C-678D-4DE8-8F18-213FFC9924FF}"/>
              </a:ext>
            </a:extLst>
          </p:cNvPr>
          <p:cNvSpPr>
            <a:spLocks noGrp="1"/>
          </p:cNvSpPr>
          <p:nvPr>
            <p:ph type="pic" sz="quarter" idx="13" hasCustomPrompt="1"/>
          </p:nvPr>
        </p:nvSpPr>
        <p:spPr bwMode="gray">
          <a:xfrm>
            <a:off x="1" y="465890"/>
            <a:ext cx="5926223" cy="5926223"/>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6537513" y="2670978"/>
            <a:ext cx="4636065" cy="758022"/>
          </a:xfrm>
          <a:prstGeom prst="rect">
            <a:avLst/>
          </a:prstGeom>
        </p:spPr>
        <p:txBody>
          <a:bodyPr vert="horz" wrap="square" lIns="0" tIns="164592" rIns="0" bIns="0" rtlCol="0" anchor="b" anchorCtr="0">
            <a:noAutofit/>
          </a:bodyPr>
          <a:lstStyle>
            <a:lvl1pPr>
              <a:defRPr sz="3920">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655728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751" fontAlgn="base">
              <a:spcBef>
                <a:spcPct val="0"/>
              </a:spcBef>
              <a:spcAft>
                <a:spcPct val="0"/>
              </a:spcAft>
            </a:pPr>
            <a:r>
              <a:rPr lang="en-US"/>
              <a:t>Description</a:t>
            </a:r>
          </a:p>
        </p:txBody>
      </p:sp>
    </p:spTree>
    <p:extLst>
      <p:ext uri="{BB962C8B-B14F-4D97-AF65-F5344CB8AC3E}">
        <p14:creationId xmlns:p14="http://schemas.microsoft.com/office/powerpoint/2010/main" val="605095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35" presetClass="path" presetSubtype="0" decel="100000" fill="hold" grpId="1" nodeType="withEffect">
                                  <p:stCondLst>
                                    <p:cond delay="0"/>
                                  </p:stCondLst>
                                  <p:childTnLst>
                                    <p:animMotion origin="layout" path="M 1.25E-6 0 L -0.48464 0 " pathEditMode="relative" rAng="0" ptsTypes="AA">
                                      <p:cBhvr>
                                        <p:cTn id="9" dur="1250" spd="-100000" fill="hold"/>
                                        <p:tgtEl>
                                          <p:spTgt spid="9"/>
                                        </p:tgtEl>
                                        <p:attrNameLst>
                                          <p:attrName>ppt_x</p:attrName>
                                          <p:attrName>ppt_y</p:attrName>
                                        </p:attrNameLst>
                                      </p:cBhvr>
                                      <p:rCtr x="-242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3_Section_3_pillar_slide">
    <p:bg>
      <p:bgPr>
        <a:solidFill>
          <a:srgbClr val="000000"/>
        </a:solidFill>
        <a:effectLst/>
      </p:bgPr>
    </p:bg>
    <p:spTree>
      <p:nvGrpSpPr>
        <p:cNvPr id="1" name=""/>
        <p:cNvGrpSpPr/>
        <p:nvPr/>
      </p:nvGrpSpPr>
      <p:grpSpPr>
        <a:xfrm>
          <a:off x="0" y="0"/>
          <a:ext cx="0" cy="0"/>
          <a:chOff x="0" y="0"/>
          <a:chExt cx="0" cy="0"/>
        </a:xfrm>
      </p:grpSpPr>
      <p:sp>
        <p:nvSpPr>
          <p:cNvPr id="49" name="Text Placeholder 8">
            <a:extLst>
              <a:ext uri="{FF2B5EF4-FFF2-40B4-BE49-F238E27FC236}">
                <a16:creationId xmlns:a16="http://schemas.microsoft.com/office/drawing/2014/main" id="{56D1C8BD-883D-4CB5-ABDB-551ECA10840B}"/>
              </a:ext>
            </a:extLst>
          </p:cNvPr>
          <p:cNvSpPr>
            <a:spLocks noGrp="1"/>
          </p:cNvSpPr>
          <p:nvPr>
            <p:ph type="body" sz="quarter" idx="18" hasCustomPrompt="1"/>
          </p:nvPr>
        </p:nvSpPr>
        <p:spPr>
          <a:xfrm>
            <a:off x="1081153"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0" name="Text Placeholder 8">
            <a:extLst>
              <a:ext uri="{FF2B5EF4-FFF2-40B4-BE49-F238E27FC236}">
                <a16:creationId xmlns:a16="http://schemas.microsoft.com/office/drawing/2014/main" id="{7FEB9980-E79D-4642-A805-438A31BFE40F}"/>
              </a:ext>
            </a:extLst>
          </p:cNvPr>
          <p:cNvSpPr>
            <a:spLocks noGrp="1"/>
          </p:cNvSpPr>
          <p:nvPr>
            <p:ph type="body" sz="quarter" idx="19" hasCustomPrompt="1"/>
          </p:nvPr>
        </p:nvSpPr>
        <p:spPr>
          <a:xfrm>
            <a:off x="1081153"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51" name="Text Placeholder 8">
            <a:extLst>
              <a:ext uri="{FF2B5EF4-FFF2-40B4-BE49-F238E27FC236}">
                <a16:creationId xmlns:a16="http://schemas.microsoft.com/office/drawing/2014/main" id="{307BD414-63B1-4A43-B107-744BBBE4E7C0}"/>
              </a:ext>
            </a:extLst>
          </p:cNvPr>
          <p:cNvSpPr>
            <a:spLocks noGrp="1"/>
          </p:cNvSpPr>
          <p:nvPr>
            <p:ph type="body" sz="quarter" idx="20" hasCustomPrompt="1"/>
          </p:nvPr>
        </p:nvSpPr>
        <p:spPr>
          <a:xfrm>
            <a:off x="4680820"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2" name="Text Placeholder 8">
            <a:extLst>
              <a:ext uri="{FF2B5EF4-FFF2-40B4-BE49-F238E27FC236}">
                <a16:creationId xmlns:a16="http://schemas.microsoft.com/office/drawing/2014/main" id="{727C7F1D-CDA1-400C-B9FC-353A591CDCDE}"/>
              </a:ext>
            </a:extLst>
          </p:cNvPr>
          <p:cNvSpPr>
            <a:spLocks noGrp="1"/>
          </p:cNvSpPr>
          <p:nvPr>
            <p:ph type="body" sz="quarter" idx="21" hasCustomPrompt="1"/>
          </p:nvPr>
        </p:nvSpPr>
        <p:spPr>
          <a:xfrm>
            <a:off x="4680820"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53" name="Text Placeholder 8">
            <a:extLst>
              <a:ext uri="{FF2B5EF4-FFF2-40B4-BE49-F238E27FC236}">
                <a16:creationId xmlns:a16="http://schemas.microsoft.com/office/drawing/2014/main" id="{FE19FCD9-EBB0-437C-9DC2-D5F27272E3B0}"/>
              </a:ext>
            </a:extLst>
          </p:cNvPr>
          <p:cNvSpPr>
            <a:spLocks noGrp="1"/>
          </p:cNvSpPr>
          <p:nvPr>
            <p:ph type="body" sz="quarter" idx="22" hasCustomPrompt="1"/>
          </p:nvPr>
        </p:nvSpPr>
        <p:spPr>
          <a:xfrm>
            <a:off x="8282826" y="4274160"/>
            <a:ext cx="2830361"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54" name="Text Placeholder 8">
            <a:extLst>
              <a:ext uri="{FF2B5EF4-FFF2-40B4-BE49-F238E27FC236}">
                <a16:creationId xmlns:a16="http://schemas.microsoft.com/office/drawing/2014/main" id="{870E18EA-D4DA-4F14-B304-C7FFB35D24E0}"/>
              </a:ext>
            </a:extLst>
          </p:cNvPr>
          <p:cNvSpPr>
            <a:spLocks noGrp="1"/>
          </p:cNvSpPr>
          <p:nvPr>
            <p:ph type="body" sz="quarter" idx="23" hasCustomPrompt="1"/>
          </p:nvPr>
        </p:nvSpPr>
        <p:spPr>
          <a:xfrm>
            <a:off x="8282826" y="4944469"/>
            <a:ext cx="2830361"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15" name="Straight Connector 14">
            <a:extLst>
              <a:ext uri="{FF2B5EF4-FFF2-40B4-BE49-F238E27FC236}">
                <a16:creationId xmlns:a16="http://schemas.microsoft.com/office/drawing/2014/main" id="{D2A2462C-FE1D-4299-AA5C-6C8B757AC987}"/>
              </a:ext>
            </a:extLst>
          </p:cNvPr>
          <p:cNvCxnSpPr/>
          <p:nvPr userDrawn="1"/>
        </p:nvCxnSpPr>
        <p:spPr>
          <a:xfrm>
            <a:off x="1078812"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EF63DC-1438-4C20-94B8-7EBD5DEB6FB1}"/>
              </a:ext>
            </a:extLst>
          </p:cNvPr>
          <p:cNvCxnSpPr/>
          <p:nvPr userDrawn="1"/>
        </p:nvCxnSpPr>
        <p:spPr>
          <a:xfrm>
            <a:off x="4678479"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66E28BD-8034-48FA-AF93-CA3A2E9747A1}"/>
              </a:ext>
            </a:extLst>
          </p:cNvPr>
          <p:cNvCxnSpPr/>
          <p:nvPr userDrawn="1"/>
        </p:nvCxnSpPr>
        <p:spPr>
          <a:xfrm>
            <a:off x="8280485" y="4075663"/>
            <a:ext cx="283270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83671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_Section_3_pillar_stat_slide">
    <p:bg>
      <p:bgPr>
        <a:solidFill>
          <a:srgbClr val="00000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B4445D-F941-46F7-88D2-7A6E4CCC3B54}"/>
              </a:ext>
            </a:extLst>
          </p:cNvPr>
          <p:cNvSpPr/>
          <p:nvPr userDrawn="1"/>
        </p:nvSpPr>
        <p:spPr bwMode="auto">
          <a:xfrm>
            <a:off x="9220062" y="1768361"/>
            <a:ext cx="2420347" cy="3694203"/>
          </a:xfrm>
          <a:prstGeom prst="rect">
            <a:avLst/>
          </a:prstGeom>
          <a:solidFill>
            <a:schemeClr val="accent1"/>
          </a:solidFill>
          <a:ln>
            <a:noFill/>
            <a:headEnd type="none" w="med" len="med"/>
            <a:tailEnd type="none" w="med" len="med"/>
          </a:ln>
          <a:effectLst>
            <a:outerShdw blurRad="254000" dist="50800" dir="27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8">
            <a:extLst>
              <a:ext uri="{FF2B5EF4-FFF2-40B4-BE49-F238E27FC236}">
                <a16:creationId xmlns:a16="http://schemas.microsoft.com/office/drawing/2014/main" id="{9EB50C42-28F4-46E9-AE5A-6D17CF6EB1EE}"/>
              </a:ext>
            </a:extLst>
          </p:cNvPr>
          <p:cNvSpPr>
            <a:spLocks noGrp="1"/>
          </p:cNvSpPr>
          <p:nvPr>
            <p:ph type="body" sz="quarter" idx="18" hasCustomPrompt="1"/>
          </p:nvPr>
        </p:nvSpPr>
        <p:spPr>
          <a:xfrm>
            <a:off x="669179"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1" name="Text Placeholder 8">
            <a:extLst>
              <a:ext uri="{FF2B5EF4-FFF2-40B4-BE49-F238E27FC236}">
                <a16:creationId xmlns:a16="http://schemas.microsoft.com/office/drawing/2014/main" id="{DA0EBB9B-ABE1-4DC2-9897-223F9B1A0C67}"/>
              </a:ext>
            </a:extLst>
          </p:cNvPr>
          <p:cNvSpPr>
            <a:spLocks noGrp="1"/>
          </p:cNvSpPr>
          <p:nvPr>
            <p:ph type="body" sz="quarter" idx="19" hasCustomPrompt="1"/>
          </p:nvPr>
        </p:nvSpPr>
        <p:spPr>
          <a:xfrm>
            <a:off x="669179"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2" name="Text Placeholder 8">
            <a:extLst>
              <a:ext uri="{FF2B5EF4-FFF2-40B4-BE49-F238E27FC236}">
                <a16:creationId xmlns:a16="http://schemas.microsoft.com/office/drawing/2014/main" id="{4DD853B8-C8B1-4CB0-BB39-64BE500FA5CB}"/>
              </a:ext>
            </a:extLst>
          </p:cNvPr>
          <p:cNvSpPr>
            <a:spLocks noGrp="1"/>
          </p:cNvSpPr>
          <p:nvPr>
            <p:ph type="body" sz="quarter" idx="20" hasCustomPrompt="1"/>
          </p:nvPr>
        </p:nvSpPr>
        <p:spPr>
          <a:xfrm>
            <a:off x="3530693"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3" name="Text Placeholder 8">
            <a:extLst>
              <a:ext uri="{FF2B5EF4-FFF2-40B4-BE49-F238E27FC236}">
                <a16:creationId xmlns:a16="http://schemas.microsoft.com/office/drawing/2014/main" id="{F38AFF20-0606-426E-967B-199A5D00E3C0}"/>
              </a:ext>
            </a:extLst>
          </p:cNvPr>
          <p:cNvSpPr>
            <a:spLocks noGrp="1"/>
          </p:cNvSpPr>
          <p:nvPr>
            <p:ph type="body" sz="quarter" idx="21" hasCustomPrompt="1"/>
          </p:nvPr>
        </p:nvSpPr>
        <p:spPr>
          <a:xfrm>
            <a:off x="3530693"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4" name="Text Placeholder 8">
            <a:extLst>
              <a:ext uri="{FF2B5EF4-FFF2-40B4-BE49-F238E27FC236}">
                <a16:creationId xmlns:a16="http://schemas.microsoft.com/office/drawing/2014/main" id="{9BEBEA38-8C71-4625-ABF9-3092549E614E}"/>
              </a:ext>
            </a:extLst>
          </p:cNvPr>
          <p:cNvSpPr>
            <a:spLocks noGrp="1"/>
          </p:cNvSpPr>
          <p:nvPr>
            <p:ph type="body" sz="quarter" idx="22" hasCustomPrompt="1"/>
          </p:nvPr>
        </p:nvSpPr>
        <p:spPr>
          <a:xfrm>
            <a:off x="6392209" y="4274160"/>
            <a:ext cx="2599632"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5" name="Text Placeholder 8">
            <a:extLst>
              <a:ext uri="{FF2B5EF4-FFF2-40B4-BE49-F238E27FC236}">
                <a16:creationId xmlns:a16="http://schemas.microsoft.com/office/drawing/2014/main" id="{76B6EFED-DEDE-4964-9D37-5E5FB83C7EE3}"/>
              </a:ext>
            </a:extLst>
          </p:cNvPr>
          <p:cNvSpPr>
            <a:spLocks noGrp="1"/>
          </p:cNvSpPr>
          <p:nvPr>
            <p:ph type="body" sz="quarter" idx="23" hasCustomPrompt="1"/>
          </p:nvPr>
        </p:nvSpPr>
        <p:spPr>
          <a:xfrm>
            <a:off x="6392209" y="4944469"/>
            <a:ext cx="2599632"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20" name="Text Placeholder 8">
            <a:extLst>
              <a:ext uri="{FF2B5EF4-FFF2-40B4-BE49-F238E27FC236}">
                <a16:creationId xmlns:a16="http://schemas.microsoft.com/office/drawing/2014/main" id="{DDBB9F26-3BDE-42F6-B0F7-A8EA1A2B6621}"/>
              </a:ext>
            </a:extLst>
          </p:cNvPr>
          <p:cNvSpPr>
            <a:spLocks noGrp="1"/>
          </p:cNvSpPr>
          <p:nvPr>
            <p:ph type="body" sz="quarter" idx="24" hasCustomPrompt="1"/>
          </p:nvPr>
        </p:nvSpPr>
        <p:spPr>
          <a:xfrm>
            <a:off x="9395220" y="2248602"/>
            <a:ext cx="1410481" cy="1463378"/>
          </a:xfrm>
        </p:spPr>
        <p:txBody>
          <a:bodyPr tIns="0" bIns="0" anchor="b" anchorCtr="0">
            <a:noAutofit/>
          </a:bodyPr>
          <a:lstStyle>
            <a:lvl1pPr algn="r">
              <a:defRPr sz="7842">
                <a:gradFill>
                  <a:gsLst>
                    <a:gs pos="0">
                      <a:schemeClr val="bg1"/>
                    </a:gs>
                    <a:gs pos="100000">
                      <a:schemeClr val="bg1"/>
                    </a:gs>
                  </a:gsLst>
                  <a:lin ang="5400000" scaled="0"/>
                </a:gradFill>
                <a:latin typeface="+mj-lt"/>
              </a:defRPr>
            </a:lvl1pPr>
          </a:lstStyle>
          <a:p>
            <a:pPr lvl="0"/>
            <a:r>
              <a:rPr lang="en-US"/>
              <a:t>##</a:t>
            </a:r>
          </a:p>
        </p:txBody>
      </p:sp>
      <p:sp>
        <p:nvSpPr>
          <p:cNvPr id="21" name="Text Placeholder 8">
            <a:extLst>
              <a:ext uri="{FF2B5EF4-FFF2-40B4-BE49-F238E27FC236}">
                <a16:creationId xmlns:a16="http://schemas.microsoft.com/office/drawing/2014/main" id="{D620B847-1259-4160-AF37-C5F77C8CCC44}"/>
              </a:ext>
            </a:extLst>
          </p:cNvPr>
          <p:cNvSpPr>
            <a:spLocks noGrp="1"/>
          </p:cNvSpPr>
          <p:nvPr>
            <p:ph type="body" sz="quarter" idx="25" hasCustomPrompt="1"/>
          </p:nvPr>
        </p:nvSpPr>
        <p:spPr>
          <a:xfrm>
            <a:off x="9309704" y="3724156"/>
            <a:ext cx="2241062" cy="551059"/>
          </a:xfrm>
        </p:spPr>
        <p:txBody>
          <a:bodyPr>
            <a:noAutofit/>
          </a:bodyPr>
          <a:lstStyle>
            <a:lvl1pPr algn="ctr">
              <a:defRPr sz="1765">
                <a:gradFill>
                  <a:gsLst>
                    <a:gs pos="0">
                      <a:schemeClr val="bg1"/>
                    </a:gs>
                    <a:gs pos="100000">
                      <a:schemeClr val="bg1"/>
                    </a:gs>
                  </a:gsLst>
                  <a:lin ang="5400000" scaled="0"/>
                </a:gradFill>
                <a:latin typeface="+mj-lt"/>
              </a:defRPr>
            </a:lvl1pPr>
          </a:lstStyle>
          <a:p>
            <a:pPr lvl="0"/>
            <a:r>
              <a:rPr lang="en-US"/>
              <a:t>Placeholder</a:t>
            </a:r>
          </a:p>
        </p:txBody>
      </p:sp>
      <p:cxnSp>
        <p:nvCxnSpPr>
          <p:cNvPr id="23" name="Straight Connector 22">
            <a:extLst>
              <a:ext uri="{FF2B5EF4-FFF2-40B4-BE49-F238E27FC236}">
                <a16:creationId xmlns:a16="http://schemas.microsoft.com/office/drawing/2014/main" id="{8C7B79A7-D515-4D87-95B3-A24C61DB20DD}"/>
              </a:ext>
            </a:extLst>
          </p:cNvPr>
          <p:cNvCxnSpPr/>
          <p:nvPr userDrawn="1"/>
        </p:nvCxnSpPr>
        <p:spPr>
          <a:xfrm>
            <a:off x="669179"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A0F340-9CE7-41E8-A55E-C9F1AD1F9A07}"/>
              </a:ext>
            </a:extLst>
          </p:cNvPr>
          <p:cNvCxnSpPr/>
          <p:nvPr userDrawn="1"/>
        </p:nvCxnSpPr>
        <p:spPr>
          <a:xfrm>
            <a:off x="3530693"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3D69DA1-6527-4957-A03A-BF3A566F5427}"/>
              </a:ext>
            </a:extLst>
          </p:cNvPr>
          <p:cNvCxnSpPr/>
          <p:nvPr userDrawn="1"/>
        </p:nvCxnSpPr>
        <p:spPr>
          <a:xfrm>
            <a:off x="6392209" y="4075663"/>
            <a:ext cx="2599632"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8">
            <a:extLst>
              <a:ext uri="{FF2B5EF4-FFF2-40B4-BE49-F238E27FC236}">
                <a16:creationId xmlns:a16="http://schemas.microsoft.com/office/drawing/2014/main" id="{019FBC49-79A0-475C-951D-8A02D4FEDB63}"/>
              </a:ext>
            </a:extLst>
          </p:cNvPr>
          <p:cNvSpPr>
            <a:spLocks noGrp="1"/>
          </p:cNvSpPr>
          <p:nvPr>
            <p:ph type="body" sz="quarter" idx="27" hasCustomPrompt="1"/>
          </p:nvPr>
        </p:nvSpPr>
        <p:spPr>
          <a:xfrm>
            <a:off x="10805701" y="2246157"/>
            <a:ext cx="664143" cy="1457034"/>
          </a:xfrm>
        </p:spPr>
        <p:txBody>
          <a:bodyPr tIns="0" bIns="137160" anchor="b" anchorCtr="0">
            <a:noAutofit/>
          </a:bodyPr>
          <a:lstStyle>
            <a:lvl1pPr algn="l">
              <a:defRPr sz="4705">
                <a:gradFill>
                  <a:gsLst>
                    <a:gs pos="0">
                      <a:schemeClr val="bg1"/>
                    </a:gs>
                    <a:gs pos="100000">
                      <a:schemeClr val="bg1"/>
                    </a:gs>
                  </a:gsLst>
                  <a:lin ang="5400000" scaled="0"/>
                </a:gradFill>
                <a:latin typeface="+mj-lt"/>
              </a:defRPr>
            </a:lvl1pPr>
          </a:lstStyle>
          <a:p>
            <a:pPr lvl="0"/>
            <a:r>
              <a:rPr lang="en-US"/>
              <a:t>#</a:t>
            </a:r>
          </a:p>
        </p:txBody>
      </p:sp>
    </p:spTree>
    <p:extLst>
      <p:ext uri="{BB962C8B-B14F-4D97-AF65-F5344CB8AC3E}">
        <p14:creationId xmlns:p14="http://schemas.microsoft.com/office/powerpoint/2010/main" val="29768464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5_Section_3_pillar_stat_slide">
    <p:bg>
      <p:bgPr>
        <a:solidFill>
          <a:srgbClr val="000000"/>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EB50C42-28F4-46E9-AE5A-6D17CF6EB1EE}"/>
              </a:ext>
            </a:extLst>
          </p:cNvPr>
          <p:cNvSpPr>
            <a:spLocks noGrp="1"/>
          </p:cNvSpPr>
          <p:nvPr>
            <p:ph type="body" sz="quarter" idx="18" hasCustomPrompt="1"/>
          </p:nvPr>
        </p:nvSpPr>
        <p:spPr>
          <a:xfrm>
            <a:off x="66917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1" name="Text Placeholder 8">
            <a:extLst>
              <a:ext uri="{FF2B5EF4-FFF2-40B4-BE49-F238E27FC236}">
                <a16:creationId xmlns:a16="http://schemas.microsoft.com/office/drawing/2014/main" id="{DA0EBB9B-ABE1-4DC2-9897-223F9B1A0C67}"/>
              </a:ext>
            </a:extLst>
          </p:cNvPr>
          <p:cNvSpPr>
            <a:spLocks noGrp="1"/>
          </p:cNvSpPr>
          <p:nvPr>
            <p:ph type="body" sz="quarter" idx="19" hasCustomPrompt="1"/>
          </p:nvPr>
        </p:nvSpPr>
        <p:spPr>
          <a:xfrm>
            <a:off x="66917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2" name="Text Placeholder 8">
            <a:extLst>
              <a:ext uri="{FF2B5EF4-FFF2-40B4-BE49-F238E27FC236}">
                <a16:creationId xmlns:a16="http://schemas.microsoft.com/office/drawing/2014/main" id="{4DD853B8-C8B1-4CB0-BB39-64BE500FA5CB}"/>
              </a:ext>
            </a:extLst>
          </p:cNvPr>
          <p:cNvSpPr>
            <a:spLocks noGrp="1"/>
          </p:cNvSpPr>
          <p:nvPr>
            <p:ph type="body" sz="quarter" idx="20" hasCustomPrompt="1"/>
          </p:nvPr>
        </p:nvSpPr>
        <p:spPr>
          <a:xfrm>
            <a:off x="3530694"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3" name="Text Placeholder 8">
            <a:extLst>
              <a:ext uri="{FF2B5EF4-FFF2-40B4-BE49-F238E27FC236}">
                <a16:creationId xmlns:a16="http://schemas.microsoft.com/office/drawing/2014/main" id="{F38AFF20-0606-426E-967B-199A5D00E3C0}"/>
              </a:ext>
            </a:extLst>
          </p:cNvPr>
          <p:cNvSpPr>
            <a:spLocks noGrp="1"/>
          </p:cNvSpPr>
          <p:nvPr>
            <p:ph type="body" sz="quarter" idx="21" hasCustomPrompt="1"/>
          </p:nvPr>
        </p:nvSpPr>
        <p:spPr>
          <a:xfrm>
            <a:off x="3530694"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sp>
        <p:nvSpPr>
          <p:cNvPr id="14" name="Text Placeholder 8">
            <a:extLst>
              <a:ext uri="{FF2B5EF4-FFF2-40B4-BE49-F238E27FC236}">
                <a16:creationId xmlns:a16="http://schemas.microsoft.com/office/drawing/2014/main" id="{9BEBEA38-8C71-4625-ABF9-3092549E614E}"/>
              </a:ext>
            </a:extLst>
          </p:cNvPr>
          <p:cNvSpPr>
            <a:spLocks noGrp="1"/>
          </p:cNvSpPr>
          <p:nvPr>
            <p:ph type="body" sz="quarter" idx="22" hasCustomPrompt="1"/>
          </p:nvPr>
        </p:nvSpPr>
        <p:spPr>
          <a:xfrm>
            <a:off x="639220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5" name="Text Placeholder 8">
            <a:extLst>
              <a:ext uri="{FF2B5EF4-FFF2-40B4-BE49-F238E27FC236}">
                <a16:creationId xmlns:a16="http://schemas.microsoft.com/office/drawing/2014/main" id="{76B6EFED-DEDE-4964-9D37-5E5FB83C7EE3}"/>
              </a:ext>
            </a:extLst>
          </p:cNvPr>
          <p:cNvSpPr>
            <a:spLocks noGrp="1"/>
          </p:cNvSpPr>
          <p:nvPr>
            <p:ph type="body" sz="quarter" idx="23" hasCustomPrompt="1"/>
          </p:nvPr>
        </p:nvSpPr>
        <p:spPr>
          <a:xfrm>
            <a:off x="639220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23" name="Straight Connector 22">
            <a:extLst>
              <a:ext uri="{FF2B5EF4-FFF2-40B4-BE49-F238E27FC236}">
                <a16:creationId xmlns:a16="http://schemas.microsoft.com/office/drawing/2014/main" id="{8C7B79A7-D515-4D87-95B3-A24C61DB20DD}"/>
              </a:ext>
            </a:extLst>
          </p:cNvPr>
          <p:cNvCxnSpPr>
            <a:cxnSpLocks/>
          </p:cNvCxnSpPr>
          <p:nvPr userDrawn="1"/>
        </p:nvCxnSpPr>
        <p:spPr>
          <a:xfrm>
            <a:off x="66917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A0F340-9CE7-41E8-A55E-C9F1AD1F9A07}"/>
              </a:ext>
            </a:extLst>
          </p:cNvPr>
          <p:cNvCxnSpPr>
            <a:cxnSpLocks/>
          </p:cNvCxnSpPr>
          <p:nvPr userDrawn="1"/>
        </p:nvCxnSpPr>
        <p:spPr>
          <a:xfrm>
            <a:off x="3530694"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3D69DA1-6527-4957-A03A-BF3A566F5427}"/>
              </a:ext>
            </a:extLst>
          </p:cNvPr>
          <p:cNvCxnSpPr>
            <a:cxnSpLocks/>
          </p:cNvCxnSpPr>
          <p:nvPr userDrawn="1"/>
        </p:nvCxnSpPr>
        <p:spPr>
          <a:xfrm>
            <a:off x="639220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223C2AFE-4173-43FA-8C68-B599683F78AC}"/>
              </a:ext>
            </a:extLst>
          </p:cNvPr>
          <p:cNvSpPr>
            <a:spLocks noGrp="1"/>
          </p:cNvSpPr>
          <p:nvPr>
            <p:ph type="body" sz="quarter" idx="24" hasCustomPrompt="1"/>
          </p:nvPr>
        </p:nvSpPr>
        <p:spPr>
          <a:xfrm>
            <a:off x="9132649" y="4274160"/>
            <a:ext cx="2398077" cy="551059"/>
          </a:xfrm>
        </p:spPr>
        <p:txBody>
          <a:bodyPr anchor="b" anchorCtr="0">
            <a:noAutofit/>
          </a:bodyPr>
          <a:lstStyle>
            <a:lvl1pPr algn="ctr">
              <a:defRPr sz="2059">
                <a:gradFill>
                  <a:gsLst>
                    <a:gs pos="0">
                      <a:schemeClr val="bg1"/>
                    </a:gs>
                    <a:gs pos="100000">
                      <a:schemeClr val="bg1"/>
                    </a:gs>
                  </a:gsLst>
                  <a:lin ang="5400000" scaled="0"/>
                </a:gradFill>
                <a:latin typeface="+mj-lt"/>
              </a:defRPr>
            </a:lvl1pPr>
          </a:lstStyle>
          <a:p>
            <a:pPr lvl="0"/>
            <a:r>
              <a:rPr lang="en-US"/>
              <a:t>Stat title placeholder</a:t>
            </a:r>
          </a:p>
        </p:txBody>
      </p:sp>
      <p:sp>
        <p:nvSpPr>
          <p:cNvPr id="17" name="Text Placeholder 8">
            <a:extLst>
              <a:ext uri="{FF2B5EF4-FFF2-40B4-BE49-F238E27FC236}">
                <a16:creationId xmlns:a16="http://schemas.microsoft.com/office/drawing/2014/main" id="{D3159798-B066-434D-9D68-45B15249AC5D}"/>
              </a:ext>
            </a:extLst>
          </p:cNvPr>
          <p:cNvSpPr>
            <a:spLocks noGrp="1"/>
          </p:cNvSpPr>
          <p:nvPr>
            <p:ph type="body" sz="quarter" idx="25" hasCustomPrompt="1"/>
          </p:nvPr>
        </p:nvSpPr>
        <p:spPr>
          <a:xfrm>
            <a:off x="9132649" y="4944469"/>
            <a:ext cx="2398077" cy="551059"/>
          </a:xfrm>
        </p:spPr>
        <p:txBody>
          <a:bodyPr>
            <a:noAutofit/>
          </a:bodyPr>
          <a:lstStyle>
            <a:lvl1pPr algn="ctr">
              <a:spcAft>
                <a:spcPts val="588"/>
              </a:spcAft>
              <a:defRPr sz="1568">
                <a:gradFill>
                  <a:gsLst>
                    <a:gs pos="0">
                      <a:schemeClr val="bg1"/>
                    </a:gs>
                    <a:gs pos="100000">
                      <a:schemeClr val="bg1"/>
                    </a:gs>
                  </a:gsLst>
                  <a:lin ang="5400000" scaled="0"/>
                </a:gradFill>
                <a:latin typeface="+mn-lt"/>
              </a:defRPr>
            </a:lvl1pPr>
          </a:lstStyle>
          <a:p>
            <a:pPr lvl="0"/>
            <a:r>
              <a:rPr lang="en-US"/>
              <a:t>Stat title placeholder</a:t>
            </a:r>
          </a:p>
        </p:txBody>
      </p:sp>
      <p:cxnSp>
        <p:nvCxnSpPr>
          <p:cNvPr id="18" name="Straight Connector 17">
            <a:extLst>
              <a:ext uri="{FF2B5EF4-FFF2-40B4-BE49-F238E27FC236}">
                <a16:creationId xmlns:a16="http://schemas.microsoft.com/office/drawing/2014/main" id="{799BCEEC-1EC0-47D5-BD51-2CA68108C326}"/>
              </a:ext>
            </a:extLst>
          </p:cNvPr>
          <p:cNvCxnSpPr>
            <a:cxnSpLocks/>
          </p:cNvCxnSpPr>
          <p:nvPr userDrawn="1"/>
        </p:nvCxnSpPr>
        <p:spPr>
          <a:xfrm>
            <a:off x="9132649" y="4075663"/>
            <a:ext cx="2398077"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74041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Section_Summary_slide">
    <p:bg>
      <p:bgPr>
        <a:solidFill>
          <a:srgbClr val="000000"/>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E89D39D-0F99-444A-B80D-E4FBEC401B8B}"/>
              </a:ext>
            </a:extLst>
          </p:cNvPr>
          <p:cNvSpPr>
            <a:spLocks noGrp="1"/>
          </p:cNvSpPr>
          <p:nvPr>
            <p:ph type="body" sz="quarter" idx="12"/>
          </p:nvPr>
        </p:nvSpPr>
        <p:spPr>
          <a:xfrm>
            <a:off x="7129511" y="1019517"/>
            <a:ext cx="4213197" cy="5216793"/>
          </a:xfrm>
          <a:noFill/>
        </p:spPr>
        <p:txBody>
          <a:bodyPr wrap="square" lIns="0" tIns="0" rIns="0" bIns="0" rtlCol="0" anchor="ctr" anchorCtr="0">
            <a:noAutofit/>
          </a:bodyPr>
          <a:lstStyle>
            <a:lvl1pPr>
              <a:lnSpc>
                <a:spcPct val="110000"/>
              </a:lnSpc>
              <a:defRPr kumimoji="0" lang="en-US" sz="1961" b="0" i="0" u="none" strike="noStrike" cap="none" normalizeH="0" smtClean="0">
                <a:ln w="3175">
                  <a:noFill/>
                </a:ln>
                <a:gradFill>
                  <a:gsLst>
                    <a:gs pos="0">
                      <a:schemeClr val="bg1"/>
                    </a:gs>
                    <a:gs pos="100000">
                      <a:schemeClr val="bg1"/>
                    </a:gs>
                  </a:gsLst>
                  <a:lin ang="5400000" scaled="0"/>
                </a:gradFill>
                <a:effectLst/>
                <a:uLnTx/>
                <a:uFillTx/>
                <a:latin typeface="Segoe UI Semibold"/>
                <a:cs typeface="Segoe UI Semilight" panose="020B0402040204020203" pitchFamily="34" charset="0"/>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defTabSz="914225">
              <a:lnSpc>
                <a:spcPct val="100000"/>
              </a:lnSpc>
              <a:spcAft>
                <a:spcPts val="2941"/>
              </a:spcAft>
              <a:buSzTx/>
              <a:buFontTx/>
            </a:pP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670978"/>
            <a:ext cx="4636065" cy="758022"/>
          </a:xfrm>
          <a:prstGeom prst="rect">
            <a:avLst/>
          </a:prstGeom>
        </p:spPr>
        <p:txBody>
          <a:bodyPr vert="horz" wrap="square" lIns="0" tIns="164592" rIns="0" bIns="0" rtlCol="0" anchor="b" anchorCtr="0">
            <a:noAutofit/>
          </a:bodyPr>
          <a:lstStyle>
            <a:lvl1pPr>
              <a:defRPr sz="3921">
                <a:gradFill>
                  <a:gsLst>
                    <a:gs pos="0">
                      <a:schemeClr val="bg1"/>
                    </a:gs>
                    <a:gs pos="100000">
                      <a:schemeClr val="bg1"/>
                    </a:gs>
                  </a:gsLst>
                  <a:lin ang="5400000" scaled="0"/>
                </a:gradFill>
              </a:defRPr>
            </a:lvl1pPr>
          </a:lstStyle>
          <a:p>
            <a:r>
              <a:rPr lang="en-US"/>
              <a:t>Title</a:t>
            </a:r>
          </a:p>
        </p:txBody>
      </p:sp>
      <p:sp>
        <p:nvSpPr>
          <p:cNvPr id="15" name="Text Placeholder 78">
            <a:extLst>
              <a:ext uri="{FF2B5EF4-FFF2-40B4-BE49-F238E27FC236}">
                <a16:creationId xmlns:a16="http://schemas.microsoft.com/office/drawing/2014/main" id="{8E9616EC-AF57-4CEA-B35A-763F52DA3247}"/>
              </a:ext>
            </a:extLst>
          </p:cNvPr>
          <p:cNvSpPr>
            <a:spLocks noGrp="1"/>
          </p:cNvSpPr>
          <p:nvPr>
            <p:ph type="body" sz="quarter" idx="11" hasCustomPrompt="1"/>
          </p:nvPr>
        </p:nvSpPr>
        <p:spPr>
          <a:xfrm>
            <a:off x="446199" y="3721051"/>
            <a:ext cx="4636065" cy="561290"/>
          </a:xfrm>
          <a:noFill/>
        </p:spPr>
        <p:txBody>
          <a:bodyPr vert="horz" wrap="square" lIns="0" tIns="0" rIns="0" bIns="0" rtlCol="0" anchor="t" anchorCtr="0">
            <a:noAutofit/>
          </a:bodyPr>
          <a:lstStyle>
            <a:lvl1pPr>
              <a:defRPr lang="en-US" sz="1961" b="0" cap="none" spc="-50" dirty="0">
                <a:ln w="3175">
                  <a:noFill/>
                </a:ln>
                <a:gradFill>
                  <a:gsLst>
                    <a:gs pos="0">
                      <a:schemeClr val="accent1"/>
                    </a:gs>
                    <a:gs pos="100000">
                      <a:schemeClr val="accent1"/>
                    </a:gs>
                  </a:gsLst>
                  <a:lin ang="5400000" scaled="0"/>
                </a:gradFill>
                <a:effectLst/>
                <a:latin typeface="+mj-lt"/>
                <a:cs typeface="Segoe UI" pitchFamily="34" charset="0"/>
              </a:defRPr>
            </a:lvl1pPr>
          </a:lstStyle>
          <a:p>
            <a:pPr lvl="0" defTabSz="913927" fontAlgn="base">
              <a:spcBef>
                <a:spcPct val="0"/>
              </a:spcBef>
              <a:spcAft>
                <a:spcPct val="0"/>
              </a:spcAft>
            </a:pPr>
            <a:r>
              <a:rPr lang="en-US"/>
              <a:t>Description</a:t>
            </a:r>
          </a:p>
        </p:txBody>
      </p:sp>
    </p:spTree>
    <p:extLst>
      <p:ext uri="{BB962C8B-B14F-4D97-AF65-F5344CB8AC3E}">
        <p14:creationId xmlns:p14="http://schemas.microsoft.com/office/powerpoint/2010/main" val="226235840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855685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6600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39033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xperi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489A0-D4D9-944A-8B84-3753A5CD6E60}"/>
              </a:ext>
            </a:extLst>
          </p:cNvPr>
          <p:cNvSpPr>
            <a:spLocks noGrp="1"/>
          </p:cNvSpPr>
          <p:nvPr>
            <p:ph type="title"/>
          </p:nvPr>
        </p:nvSpPr>
        <p:spPr>
          <a:xfrm>
            <a:off x="152464" y="171250"/>
            <a:ext cx="7251618" cy="320004"/>
          </a:xfrm>
        </p:spPr>
        <p:txBody>
          <a:bodyPr/>
          <a:lstStyle/>
          <a:p>
            <a:r>
              <a:rPr lang="en-US"/>
              <a:t>Click to edit Master title style</a:t>
            </a:r>
          </a:p>
        </p:txBody>
      </p:sp>
      <p:sp>
        <p:nvSpPr>
          <p:cNvPr id="18" name="Text Placeholder 11">
            <a:extLst>
              <a:ext uri="{FF2B5EF4-FFF2-40B4-BE49-F238E27FC236}">
                <a16:creationId xmlns:a16="http://schemas.microsoft.com/office/drawing/2014/main" id="{66733F7B-AC03-F041-9BA4-CEA04F865E70}"/>
              </a:ext>
            </a:extLst>
          </p:cNvPr>
          <p:cNvSpPr>
            <a:spLocks noGrp="1"/>
          </p:cNvSpPr>
          <p:nvPr>
            <p:ph type="body" sz="quarter" idx="10" hasCustomPrompt="1"/>
          </p:nvPr>
        </p:nvSpPr>
        <p:spPr>
          <a:xfrm>
            <a:off x="152464" y="474607"/>
            <a:ext cx="7245864" cy="221612"/>
          </a:xfrm>
          <a:prstGeom prst="rect">
            <a:avLst/>
          </a:prstGeom>
        </p:spPr>
        <p:txBody>
          <a:bodyPr/>
          <a:lstStyle>
            <a:lvl1pPr marL="0" indent="0">
              <a:buNone/>
              <a:defRPr sz="1600">
                <a:solidFill>
                  <a:schemeClr val="accent1"/>
                </a:solidFill>
                <a:latin typeface="+mj-lt"/>
              </a:defRPr>
            </a:lvl1pPr>
            <a:lvl2pPr>
              <a:defRPr sz="1800">
                <a:solidFill>
                  <a:schemeClr val="accent6"/>
                </a:solidFill>
              </a:defRPr>
            </a:lvl2pPr>
            <a:lvl3pPr>
              <a:defRPr sz="1800">
                <a:solidFill>
                  <a:schemeClr val="accent6"/>
                </a:solidFill>
              </a:defRPr>
            </a:lvl3pPr>
            <a:lvl4pPr>
              <a:defRPr sz="1800">
                <a:solidFill>
                  <a:schemeClr val="accent6"/>
                </a:solidFill>
              </a:defRPr>
            </a:lvl4pPr>
            <a:lvl5pPr>
              <a:defRPr sz="1800">
                <a:solidFill>
                  <a:schemeClr val="accent6"/>
                </a:solidFill>
              </a:defRPr>
            </a:lvl5pPr>
          </a:lstStyle>
          <a:p>
            <a:pPr lvl="0"/>
            <a:r>
              <a:rPr lang="en-US"/>
              <a:t>Subhead</a:t>
            </a:r>
          </a:p>
        </p:txBody>
      </p:sp>
      <p:sp>
        <p:nvSpPr>
          <p:cNvPr id="19" name="Picture Placeholder 2">
            <a:extLst>
              <a:ext uri="{FF2B5EF4-FFF2-40B4-BE49-F238E27FC236}">
                <a16:creationId xmlns:a16="http://schemas.microsoft.com/office/drawing/2014/main" id="{5B0AA5F3-7C96-EE48-81A3-348B772B2285}"/>
              </a:ext>
            </a:extLst>
          </p:cNvPr>
          <p:cNvSpPr>
            <a:spLocks noGrp="1"/>
          </p:cNvSpPr>
          <p:nvPr>
            <p:ph type="pic" sz="quarter" idx="11" hasCustomPrompt="1"/>
          </p:nvPr>
        </p:nvSpPr>
        <p:spPr>
          <a:xfrm>
            <a:off x="6502400" y="1261156"/>
            <a:ext cx="5396089" cy="138500"/>
          </a:xfrm>
          <a:prstGeom prst="rect">
            <a:avLst/>
          </a:prstGeom>
        </p:spPr>
        <p:txBody>
          <a:bodyPr/>
          <a:lstStyle>
            <a:lvl1pPr marL="0" indent="0" algn="ctr">
              <a:buNone/>
              <a:defRPr sz="1000">
                <a:solidFill>
                  <a:schemeClr val="tx1"/>
                </a:solidFill>
              </a:defRPr>
            </a:lvl1pPr>
          </a:lstStyle>
          <a:p>
            <a:r>
              <a:rPr lang="en-US"/>
              <a:t>Insert Screen Shot</a:t>
            </a:r>
          </a:p>
        </p:txBody>
      </p:sp>
    </p:spTree>
    <p:extLst>
      <p:ext uri="{BB962C8B-B14F-4D97-AF65-F5344CB8AC3E}">
        <p14:creationId xmlns:p14="http://schemas.microsoft.com/office/powerpoint/2010/main" val="3322862140"/>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6BA21-21C0-4255-8134-0C3D24F702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4D6C1B-9C77-4145-BEF3-347EC07B594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E0AD94-8F51-4CDE-B1E9-2C96F9AFC03A}"/>
              </a:ext>
            </a:extLst>
          </p:cNvPr>
          <p:cNvSpPr>
            <a:spLocks noGrp="1"/>
          </p:cNvSpPr>
          <p:nvPr>
            <p:ph type="dt" sz="half" idx="10"/>
          </p:nvPr>
        </p:nvSpPr>
        <p:spPr/>
        <p:txBody>
          <a:bodyPr/>
          <a:lstStyle/>
          <a:p>
            <a:fld id="{F22B408F-B0B0-42BB-92AF-7C83A2D9D46D}" type="datetimeFigureOut">
              <a:rPr lang="en-US" smtClean="0"/>
              <a:t>8/11/2022</a:t>
            </a:fld>
            <a:endParaRPr lang="en-US"/>
          </a:p>
        </p:txBody>
      </p:sp>
      <p:sp>
        <p:nvSpPr>
          <p:cNvPr id="5" name="Footer Placeholder 4">
            <a:extLst>
              <a:ext uri="{FF2B5EF4-FFF2-40B4-BE49-F238E27FC236}">
                <a16:creationId xmlns:a16="http://schemas.microsoft.com/office/drawing/2014/main" id="{2D4A8736-2566-4CE7-AE89-197EE805B1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8F8907-595D-4472-9E33-402E5E5479DC}"/>
              </a:ext>
            </a:extLst>
          </p:cNvPr>
          <p:cNvSpPr>
            <a:spLocks noGrp="1"/>
          </p:cNvSpPr>
          <p:nvPr>
            <p:ph type="sldNum" sz="quarter" idx="12"/>
          </p:nvPr>
        </p:nvSpPr>
        <p:spPr/>
        <p:txBody>
          <a:bodyPr/>
          <a:lstStyle/>
          <a:p>
            <a:fld id="{F6F7372D-D388-40A4-9E06-FEA03E5F800E}" type="slidenum">
              <a:rPr lang="en-US" smtClean="0"/>
              <a:t>‹#›</a:t>
            </a:fld>
            <a:endParaRPr lang="en-US"/>
          </a:p>
        </p:txBody>
      </p:sp>
    </p:spTree>
    <p:extLst>
      <p:ext uri="{BB962C8B-B14F-4D97-AF65-F5344CB8AC3E}">
        <p14:creationId xmlns:p14="http://schemas.microsoft.com/office/powerpoint/2010/main" val="259855282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2_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white">
          <a:xfrm>
            <a:off x="269220" y="3878573"/>
            <a:ext cx="1075717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488093"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080" indent="0">
              <a:buNone/>
              <a:defRPr sz="2353">
                <a:latin typeface="+mn-lt"/>
              </a:defRPr>
            </a:lvl2pPr>
            <a:lvl3pPr marL="560134" indent="0">
              <a:buNone/>
              <a:defRPr sz="2353">
                <a:latin typeface="+mn-lt"/>
              </a:defRPr>
            </a:lvl3pPr>
            <a:lvl4pPr marL="784187" indent="0">
              <a:buNone/>
              <a:defRPr sz="2353">
                <a:latin typeface="+mn-lt"/>
              </a:defRPr>
            </a:lvl4pPr>
            <a:lvl5pPr marL="1008241" indent="0">
              <a:buNone/>
              <a:defRPr sz="2353">
                <a:latin typeface="+mn-lt"/>
              </a:defRPr>
            </a:lvl5pPr>
          </a:lstStyle>
          <a:p>
            <a:pPr lvl="0"/>
            <a:r>
              <a:rPr lang="en-US"/>
              <a:t>Session Code</a:t>
            </a:r>
          </a:p>
        </p:txBody>
      </p:sp>
    </p:spTree>
    <p:extLst>
      <p:ext uri="{BB962C8B-B14F-4D97-AF65-F5344CB8AC3E}">
        <p14:creationId xmlns:p14="http://schemas.microsoft.com/office/powerpoint/2010/main" val="756875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2_Graphic layout: three columns graphic and text">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E2B31721-F16D-E549-98B2-EFA7A505D3B6}"/>
              </a:ext>
            </a:extLst>
          </p:cNvPr>
          <p:cNvSpPr>
            <a:spLocks noGrp="1"/>
          </p:cNvSpPr>
          <p:nvPr>
            <p:ph type="title" hasCustomPrompt="1"/>
          </p:nvPr>
        </p:nvSpPr>
        <p:spPr>
          <a:xfrm>
            <a:off x="426424" y="435824"/>
            <a:ext cx="11336039" cy="744014"/>
          </a:xfrm>
        </p:spPr>
        <p:txBody>
          <a:bodyPr/>
          <a:lstStyle>
            <a:lvl1pPr>
              <a:defRPr/>
            </a:lvl1pPr>
          </a:lstStyle>
          <a:p>
            <a:r>
              <a:rPr lang="en-US"/>
              <a:t>Graphic layout: two columns icons and text</a:t>
            </a:r>
          </a:p>
        </p:txBody>
      </p:sp>
      <p:sp>
        <p:nvSpPr>
          <p:cNvPr id="18" name="Text Placeholder 3">
            <a:extLst>
              <a:ext uri="{FF2B5EF4-FFF2-40B4-BE49-F238E27FC236}">
                <a16:creationId xmlns:a16="http://schemas.microsoft.com/office/drawing/2014/main" id="{24361F3B-652D-A34A-BEC9-A6124CB39036}"/>
              </a:ext>
            </a:extLst>
          </p:cNvPr>
          <p:cNvSpPr>
            <a:spLocks noGrp="1"/>
          </p:cNvSpPr>
          <p:nvPr>
            <p:ph type="body" sz="quarter" idx="39"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789359155"/>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4" name="Text Placeholder 3">
            <a:extLst>
              <a:ext uri="{FF2B5EF4-FFF2-40B4-BE49-F238E27FC236}">
                <a16:creationId xmlns:a16="http://schemas.microsoft.com/office/drawing/2014/main" id="{567B8D63-347C-7B4E-B40B-D5729D1F07C4}"/>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chemeClr val="accent1"/>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29008379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4471AC-B226-453B-B377-3F1C2A4110A1}"/>
              </a:ext>
            </a:extLst>
          </p:cNvPr>
          <p:cNvSpPr>
            <a:spLocks noGrp="1"/>
          </p:cNvSpPr>
          <p:nvPr>
            <p:ph type="body" sz="quarter" idx="10" hasCustomPrompt="1"/>
          </p:nvPr>
        </p:nvSpPr>
        <p:spPr>
          <a:xfrm>
            <a:off x="6579384" y="99896"/>
            <a:ext cx="5482681" cy="353070"/>
          </a:xfrm>
          <a:solidFill>
            <a:srgbClr val="FFFF00"/>
          </a:solidFill>
        </p:spPr>
        <p:txBody>
          <a:bodyPr/>
          <a:lstStyle>
            <a:lvl1pPr marL="0" indent="0" algn="l">
              <a:buNone/>
              <a:defRPr b="1">
                <a:latin typeface="Abadi" panose="020B0604020202020204" pitchFamily="34" charset="0"/>
              </a:defRPr>
            </a:lvl1pPr>
          </a:lstStyle>
          <a:p>
            <a:pPr lvl="0"/>
            <a:r>
              <a:rPr lang="en-US"/>
              <a:t>Remove When Updated</a:t>
            </a:r>
          </a:p>
        </p:txBody>
      </p:sp>
    </p:spTree>
    <p:extLst>
      <p:ext uri="{BB962C8B-B14F-4D97-AF65-F5344CB8AC3E}">
        <p14:creationId xmlns:p14="http://schemas.microsoft.com/office/powerpoint/2010/main" val="3602295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1B9E3-8CDB-47BE-86B9-B8053F8487AE}"/>
              </a:ext>
            </a:extLst>
          </p:cNvPr>
          <p:cNvSpPr>
            <a:spLocks noGrp="1"/>
          </p:cNvSpPr>
          <p:nvPr>
            <p:ph type="title"/>
          </p:nvPr>
        </p:nvSpPr>
        <p:spPr>
          <a:xfrm>
            <a:off x="354073" y="374698"/>
            <a:ext cx="11277599" cy="712379"/>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CD928C8-48F2-48DA-A6A2-E8062FC77125}"/>
              </a:ext>
            </a:extLst>
          </p:cNvPr>
          <p:cNvSpPr>
            <a:spLocks noGrp="1"/>
          </p:cNvSpPr>
          <p:nvPr>
            <p:ph type="sldNum" sz="quarter" idx="10"/>
          </p:nvPr>
        </p:nvSpPr>
        <p:spPr/>
        <p:txBody>
          <a:bodyPr/>
          <a:lstStyle/>
          <a:p>
            <a:fld id="{14B407F8-90A8-44A6-978D-B9AE6E534D93}" type="slidenum">
              <a:rPr lang="en-US" smtClean="0"/>
              <a:t>‹#›</a:t>
            </a:fld>
            <a:endParaRPr lang="en-US"/>
          </a:p>
        </p:txBody>
      </p:sp>
      <p:sp>
        <p:nvSpPr>
          <p:cNvPr id="6" name="Text Placeholder 5">
            <a:extLst>
              <a:ext uri="{FF2B5EF4-FFF2-40B4-BE49-F238E27FC236}">
                <a16:creationId xmlns:a16="http://schemas.microsoft.com/office/drawing/2014/main" id="{CB156453-434A-4272-AB32-65E4A26E0AEB}"/>
              </a:ext>
            </a:extLst>
          </p:cNvPr>
          <p:cNvSpPr>
            <a:spLocks noGrp="1"/>
          </p:cNvSpPr>
          <p:nvPr>
            <p:ph type="body" sz="quarter" idx="11"/>
          </p:nvPr>
        </p:nvSpPr>
        <p:spPr>
          <a:xfrm>
            <a:off x="354072" y="1265382"/>
            <a:ext cx="11277600" cy="602344"/>
          </a:xfrm>
        </p:spPr>
        <p:txBody>
          <a:bodyPr/>
          <a:lstStyle>
            <a:lvl1pPr>
              <a:defRPr b="0">
                <a:solidFill>
                  <a:schemeClr val="tx1"/>
                </a:solidFill>
              </a:defRPr>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1221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48514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gradFill>
                  <a:gsLst>
                    <a:gs pos="0">
                      <a:schemeClr val="accent1"/>
                    </a:gs>
                    <a:gs pos="100000">
                      <a:schemeClr val="accent1"/>
                    </a:gs>
                  </a:gsLst>
                  <a:lin ang="5400000" scaled="0"/>
                </a:gra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a:t>
            </a:r>
            <a:r>
              <a:rPr lang="en-US" sz="686">
                <a:gradFill>
                  <a:gsLst>
                    <a:gs pos="0">
                      <a:schemeClr val="tx1"/>
                    </a:gs>
                    <a:gs pos="100000">
                      <a:schemeClr val="tx1"/>
                    </a:gs>
                  </a:gsLst>
                  <a:lin ang="5400000" scaled="0"/>
                </a:gradFill>
                <a:cs typeface="Segoe UI" pitchFamily="34" charset="0"/>
              </a:rPr>
              <a:t>reserved</a:t>
            </a:r>
            <a:r>
              <a:rPr lang="en-US" sz="686">
                <a:solidFill>
                  <a:srgbClr val="000000"/>
                </a:solidFill>
                <a:cs typeface="Segoe UI" pitchFamily="34" charset="0"/>
              </a:rPr>
              <a:t>. </a:t>
            </a:r>
          </a:p>
        </p:txBody>
      </p:sp>
      <p:pic>
        <p:nvPicPr>
          <p:cNvPr id="6" name="Graphic 5">
            <a:extLst>
              <a:ext uri="{FF2B5EF4-FFF2-40B4-BE49-F238E27FC236}">
                <a16:creationId xmlns:a16="http://schemas.microsoft.com/office/drawing/2014/main" id="{0C004E86-2BE0-445E-8190-2CB3DD7F34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790" y="147168"/>
            <a:ext cx="2906335" cy="877785"/>
          </a:xfrm>
          <a:prstGeom prst="rect">
            <a:avLst/>
          </a:prstGeom>
        </p:spPr>
      </p:pic>
    </p:spTree>
    <p:extLst>
      <p:ext uri="{BB962C8B-B14F-4D97-AF65-F5344CB8AC3E}">
        <p14:creationId xmlns:p14="http://schemas.microsoft.com/office/powerpoint/2010/main" val="2083713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gradFill>
                  <a:gsLst>
                    <a:gs pos="0">
                      <a:schemeClr val="bg1"/>
                    </a:gs>
                    <a:gs pos="100000">
                      <a:schemeClr val="bg1"/>
                    </a:gs>
                  </a:gsLst>
                  <a:lin ang="5400000" scaled="0"/>
                </a:gra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0"/>
                </a:gra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418086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271592"/>
          </a:xfrm>
        </p:spPr>
        <p:txBody>
          <a:bodyPr wrap="square" lIns="0" tIns="0" rIns="0" bIns="0">
            <a:spAutoFit/>
          </a:bodyPr>
          <a:lstStyle>
            <a:lvl1pPr marL="0" indent="0">
              <a:lnSpc>
                <a:spcPct val="90000"/>
              </a:lnSpc>
              <a:spcBef>
                <a:spcPts val="0"/>
              </a:spcBef>
              <a:spcAft>
                <a:spcPts val="1274"/>
              </a:spcAft>
              <a:buNone/>
              <a:defRPr lang="en-US" sz="1961" kern="1200" spc="0" baseline="0" dirty="0">
                <a:gradFill>
                  <a:gsLst>
                    <a:gs pos="1250">
                      <a:schemeClr val="accent1"/>
                    </a:gs>
                    <a:gs pos="100000">
                      <a:schemeClr val="accent1"/>
                    </a:gs>
                  </a:gsLst>
                  <a:lin ang="5400000" scaled="0"/>
                </a:gradFill>
                <a:latin typeface="Segoe UI Semibold" panose="020B0702040204020203" pitchFamily="34" charset="0"/>
                <a:ea typeface="+mn-ea"/>
                <a:cs typeface="Segoe UI Semibold" panose="020B07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marL="0" marR="0" lvl="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pPr>
            <a:r>
              <a:rPr lang="en-US"/>
              <a:t>Subtitle Segoe UI 26pt</a:t>
            </a:r>
          </a:p>
        </p:txBody>
      </p:sp>
    </p:spTree>
    <p:extLst>
      <p:ext uri="{BB962C8B-B14F-4D97-AF65-F5344CB8AC3E}">
        <p14:creationId xmlns:p14="http://schemas.microsoft.com/office/powerpoint/2010/main" val="136717930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3_Title Slide wiith photo_white text">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3EFCAA-1C29-2540-A29B-571ABD5F8225}"/>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
            <a:ext cx="12192001" cy="3595085"/>
          </a:xfrm>
          <a:prstGeom prst="rect">
            <a:avLst/>
          </a:prstGeom>
        </p:spPr>
      </p:pic>
      <p:sp>
        <p:nvSpPr>
          <p:cNvPr id="9" name="Title 1"/>
          <p:cNvSpPr>
            <a:spLocks noGrp="1"/>
          </p:cNvSpPr>
          <p:nvPr>
            <p:ph type="title" hasCustomPrompt="1"/>
          </p:nvPr>
        </p:nvSpPr>
        <p:spPr bwMode="white">
          <a:xfrm>
            <a:off x="584636" y="4073202"/>
            <a:ext cx="5083629" cy="997196"/>
          </a:xfrm>
          <a:noFill/>
        </p:spPr>
        <p:txBody>
          <a:bodyPr wrap="square"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5499023"/>
            <a:ext cx="5084064" cy="244426"/>
          </a:xfrm>
          <a:noFill/>
        </p:spPr>
        <p:txBody>
          <a:bodyPr wrap="square" lIns="0" tIns="0" rIns="0" bIns="0">
            <a:spAutoFit/>
          </a:bodyPr>
          <a:lstStyle>
            <a:lvl1pPr marL="0" indent="0">
              <a:spcBef>
                <a:spcPts val="0"/>
              </a:spcBef>
              <a:buNone/>
              <a:defRPr sz="1765" spc="0" baseline="0">
                <a:solidFill>
                  <a:schemeClr val="bg2"/>
                </a:solidFill>
                <a:latin typeface="+mn-lt"/>
                <a:cs typeface="Segoe UI" panose="020B0502040204020203" pitchFamily="34" charset="0"/>
              </a:defRPr>
            </a:lvl1pPr>
          </a:lstStyle>
          <a:p>
            <a:pPr lvl="0"/>
            <a:r>
              <a:rPr lang="en-US"/>
              <a:t>Speaker name or subtitle text</a:t>
            </a:r>
          </a:p>
        </p:txBody>
      </p:sp>
      <p:pic>
        <p:nvPicPr>
          <p:cNvPr id="10" name="Picture 9" descr="A close up of a logo&#10;&#10;Description automatically generated">
            <a:extLst>
              <a:ext uri="{FF2B5EF4-FFF2-40B4-BE49-F238E27FC236}">
                <a16:creationId xmlns:a16="http://schemas.microsoft.com/office/drawing/2014/main" id="{2909513A-6623-4018-A76B-F954A5EA690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790" y="147168"/>
            <a:ext cx="2906335" cy="877785"/>
          </a:xfrm>
          <a:prstGeom prst="rect">
            <a:avLst/>
          </a:prstGeom>
        </p:spPr>
      </p:pic>
    </p:spTree>
    <p:extLst>
      <p:ext uri="{BB962C8B-B14F-4D97-AF65-F5344CB8AC3E}">
        <p14:creationId xmlns:p14="http://schemas.microsoft.com/office/powerpoint/2010/main" val="778790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1745093"/>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64402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316EA-43FE-47F9-8B4D-55FAD647BF9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0C316B4-2F01-44C2-9022-ED4CE46EF40D}"/>
              </a:ext>
            </a:extLst>
          </p:cNvPr>
          <p:cNvSpPr>
            <a:spLocks noGrp="1"/>
          </p:cNvSpPr>
          <p:nvPr>
            <p:ph type="dt" sz="half" idx="10"/>
          </p:nvPr>
        </p:nvSpPr>
        <p:spPr/>
        <p:txBody>
          <a:bodyPr/>
          <a:lstStyle/>
          <a:p>
            <a:fld id="{3A94842E-F076-4988-8763-467CF11DA4F4}" type="datetimeFigureOut">
              <a:rPr lang="en-US" smtClean="0"/>
              <a:t>8/11/2022</a:t>
            </a:fld>
            <a:endParaRPr lang="en-US"/>
          </a:p>
        </p:txBody>
      </p:sp>
      <p:sp>
        <p:nvSpPr>
          <p:cNvPr id="4" name="Footer Placeholder 3">
            <a:extLst>
              <a:ext uri="{FF2B5EF4-FFF2-40B4-BE49-F238E27FC236}">
                <a16:creationId xmlns:a16="http://schemas.microsoft.com/office/drawing/2014/main" id="{75634065-A809-4CB7-B876-AD456EEDF7D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9EFF4F-831A-4ADB-8584-30E642B5AC3A}"/>
              </a:ext>
            </a:extLst>
          </p:cNvPr>
          <p:cNvSpPr>
            <a:spLocks noGrp="1"/>
          </p:cNvSpPr>
          <p:nvPr>
            <p:ph type="sldNum" sz="quarter" idx="12"/>
          </p:nvPr>
        </p:nvSpPr>
        <p:spPr/>
        <p:txBody>
          <a:bodyPr/>
          <a:lstStyle/>
          <a:p>
            <a:fld id="{09D5BCCE-6B92-4011-B1F5-90E5AB1BADB0}" type="slidenum">
              <a:rPr lang="en-US" smtClean="0"/>
              <a:t>‹#›</a:t>
            </a:fld>
            <a:endParaRPr lang="en-US"/>
          </a:p>
        </p:txBody>
      </p:sp>
    </p:spTree>
    <p:extLst>
      <p:ext uri="{BB962C8B-B14F-4D97-AF65-F5344CB8AC3E}">
        <p14:creationId xmlns:p14="http://schemas.microsoft.com/office/powerpoint/2010/main" val="13730348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noAutofit/>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8" name="Content Placeholder 6">
            <a:extLst>
              <a:ext uri="{FF2B5EF4-FFF2-40B4-BE49-F238E27FC236}">
                <a16:creationId xmlns:a16="http://schemas.microsoft.com/office/drawing/2014/main" id="{41373CA6-F3F2-4F62-8708-1994F2214324}"/>
              </a:ext>
            </a:extLst>
          </p:cNvPr>
          <p:cNvSpPr>
            <a:spLocks noGrp="1"/>
          </p:cNvSpPr>
          <p:nvPr>
            <p:ph sz="quarter" idx="10"/>
          </p:nvPr>
        </p:nvSpPr>
        <p:spPr>
          <a:xfrm>
            <a:off x="592357" y="963925"/>
            <a:ext cx="11025187" cy="276999"/>
          </a:xfr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tx1"/>
                </a:solidFill>
                <a:latin typeface="+mn-lt"/>
                <a:ea typeface="+mn-ea"/>
                <a:cs typeface="Segoe UI Semilight" panose="020B0402040204020203" pitchFamily="34" charset="0"/>
              </a:defRPr>
            </a:lvl1pPr>
            <a:lvl2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2pPr>
            <a:lvl3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3pPr>
            <a:lvl4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accent1"/>
                </a:solidFill>
                <a:latin typeface="+mn-lt"/>
                <a:ea typeface="+mn-ea"/>
                <a:cs typeface="Segoe UI Semilight" panose="020B0402040204020203" pitchFamily="34" charset="0"/>
              </a:defRPr>
            </a:lvl4pPr>
            <a:lvl5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accent1"/>
                </a:solidFill>
                <a:latin typeface="+mn-lt"/>
                <a:ea typeface="+mn-ea"/>
                <a:cs typeface="Segoe UI Semilight" panose="020B04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7361829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42396767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09314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567341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7795048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800169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401627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6242710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814636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221062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60390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9688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86694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892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26646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3507712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110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86178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6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189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28090336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168086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2347870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9018713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540951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21013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8338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7630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08180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381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7025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74367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90728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1494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34377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6544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47236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57865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225590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44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325604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418881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210658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07024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130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0469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741478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937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60691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7449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9916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033738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800770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639259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9446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425709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657946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5466307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7862492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627367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59913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07405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58913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16390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71387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75425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21287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23421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1574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90734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5366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54433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257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3A686-3EB4-419D-91BF-1696B702FBB3}"/>
              </a:ext>
            </a:extLst>
          </p:cNvPr>
          <p:cNvSpPr>
            <a:spLocks noGrp="1"/>
          </p:cNvSpPr>
          <p:nvPr>
            <p:ph type="title"/>
          </p:nvPr>
        </p:nvSpPr>
        <p:spPr>
          <a:xfrm>
            <a:off x="381000" y="18255"/>
            <a:ext cx="10515600" cy="1325563"/>
          </a:xfrm>
        </p:spPr>
        <p:txBody>
          <a:bodyPr>
            <a:normAutofit/>
          </a:bodyPr>
          <a:lstStyle>
            <a:lvl1pPr>
              <a:defRPr sz="24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461531D4-5D15-4D37-A0C1-8E4D14BEA485}"/>
              </a:ext>
            </a:extLst>
          </p:cNvPr>
          <p:cNvSpPr>
            <a:spLocks noGrp="1"/>
          </p:cNvSpPr>
          <p:nvPr>
            <p:ph idx="1"/>
          </p:nvPr>
        </p:nvSpPr>
        <p:spPr>
          <a:xfrm>
            <a:off x="381000" y="1559169"/>
            <a:ext cx="10972800" cy="46177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1E0675-D847-4AAE-B171-E7EA3CE3D9A1}"/>
              </a:ext>
            </a:extLst>
          </p:cNvPr>
          <p:cNvSpPr>
            <a:spLocks noGrp="1"/>
          </p:cNvSpPr>
          <p:nvPr>
            <p:ph type="dt" sz="half" idx="10"/>
          </p:nvPr>
        </p:nvSpPr>
        <p:spPr/>
        <p:txBody>
          <a:bodyPr/>
          <a:lstStyle/>
          <a:p>
            <a:fld id="{E95ED419-13FD-4511-A1AF-B0C1C92D3E0E}" type="datetimeFigureOut">
              <a:rPr lang="en-US" smtClean="0"/>
              <a:t>8/11/2022</a:t>
            </a:fld>
            <a:endParaRPr lang="en-US"/>
          </a:p>
        </p:txBody>
      </p:sp>
      <p:sp>
        <p:nvSpPr>
          <p:cNvPr id="5" name="Footer Placeholder 4">
            <a:extLst>
              <a:ext uri="{FF2B5EF4-FFF2-40B4-BE49-F238E27FC236}">
                <a16:creationId xmlns:a16="http://schemas.microsoft.com/office/drawing/2014/main" id="{9E4D414A-2BBD-4151-9BEC-6DAFC72E3D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158530-F5CC-46BA-9C78-B05D8C6F1C1C}"/>
              </a:ext>
            </a:extLst>
          </p:cNvPr>
          <p:cNvSpPr>
            <a:spLocks noGrp="1"/>
          </p:cNvSpPr>
          <p:nvPr>
            <p:ph type="sldNum" sz="quarter" idx="12"/>
          </p:nvPr>
        </p:nvSpPr>
        <p:spPr/>
        <p:txBody>
          <a:bodyPr/>
          <a:lstStyle/>
          <a:p>
            <a:fld id="{7E85362D-5068-467B-A8EF-57088B9F4B3F}" type="slidenum">
              <a:rPr lang="en-US" smtClean="0"/>
              <a:t>‹#›</a:t>
            </a:fld>
            <a:endParaRPr lang="en-US"/>
          </a:p>
        </p:txBody>
      </p:sp>
    </p:spTree>
    <p:extLst>
      <p:ext uri="{BB962C8B-B14F-4D97-AF65-F5344CB8AC3E}">
        <p14:creationId xmlns:p14="http://schemas.microsoft.com/office/powerpoint/2010/main" val="192050798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4246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65914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507992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131834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800"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48948637"/>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64320"/>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2000">
                <a:solidFill>
                  <a:srgbClr val="000000"/>
                </a:solidFill>
              </a:defRPr>
            </a:lvl2pPr>
            <a:lvl3pPr marL="448107" indent="0">
              <a:spcBef>
                <a:spcPts val="0"/>
              </a:spcBef>
              <a:spcAft>
                <a:spcPts val="1273"/>
              </a:spcAft>
              <a:buNone/>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84913406"/>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64320"/>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800"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2000">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87798"/>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75427383"/>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4927962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32545957"/>
      </p:ext>
    </p:extLst>
  </p:cSld>
  <p:clrMapOvr>
    <a:masterClrMapping/>
  </p:clrMapOvr>
  <p:transition>
    <p:fade/>
  </p:transition>
  <p:extLst>
    <p:ext uri="{DCECCB84-F9BA-43D5-87BE-67443E8EF086}">
      <p15:sldGuideLst xmlns:p15="http://schemas.microsoft.com/office/powerpoint/2012/main"/>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53650612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800">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18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4240208"/>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5888" y="4927922"/>
            <a:ext cx="3627659"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90825" y="4927922"/>
            <a:ext cx="362305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4385771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179810"/>
          </a:xfrm>
        </p:spPr>
        <p:txBody>
          <a:bodyPr lIns="0" tIns="0" rIns="0" bIns="0"/>
          <a:lstStyle>
            <a:lvl1pPr marL="0" indent="0">
              <a:lnSpc>
                <a:spcPct val="100000"/>
              </a:lnSpc>
              <a:spcBef>
                <a:spcPts val="0"/>
              </a:spcBef>
              <a:spcAft>
                <a:spcPts val="784"/>
              </a:spcAft>
              <a:buNone/>
              <a:defRPr sz="14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179810"/>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57471713"/>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84320547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33853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728698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54580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11164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576034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777437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84010"/>
            <a:ext cx="4167887" cy="1049528"/>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2"/>
            <a:ext cx="4164583" cy="276999"/>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BE6F98E3-874C-43FA-987E-AFD262B44846}"/>
              </a:ext>
            </a:extLst>
          </p:cNvPr>
          <p:cNvPicPr>
            <a:picLocks noChangeAspect="1"/>
          </p:cNvPicPr>
          <p:nvPr userDrawn="1"/>
        </p:nvPicPr>
        <p:blipFill>
          <a:blip r:embed="rId3"/>
          <a:stretch>
            <a:fillRect/>
          </a:stretch>
        </p:blipFill>
        <p:spPr>
          <a:xfrm>
            <a:off x="5327503" y="0"/>
            <a:ext cx="6864497" cy="6858000"/>
          </a:xfrm>
          <a:prstGeom prst="rect">
            <a:avLst/>
          </a:prstGeom>
        </p:spPr>
      </p:pic>
    </p:spTree>
    <p:extLst>
      <p:ext uri="{BB962C8B-B14F-4D97-AF65-F5344CB8AC3E}">
        <p14:creationId xmlns:p14="http://schemas.microsoft.com/office/powerpoint/2010/main" val="2912838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8/11/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1504423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181184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124870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39687816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437861290"/>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92755368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9947826"/>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899275010"/>
      </p:ext>
    </p:extLst>
  </p:cSld>
  <p:clrMapOvr>
    <a:masterClrMapping/>
  </p:clrMapOvr>
  <p:transition>
    <p:fade/>
  </p:transition>
  <p:extLst>
    <p:ext uri="{DCECCB84-F9BA-43D5-87BE-67443E8EF086}">
      <p15:sldGuideLst xmlns:p15="http://schemas.microsoft.com/office/powerpoint/2012/main"/>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925260313"/>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99477260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9025130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14685694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35970456"/>
      </p:ext>
    </p:extLst>
  </p:cSld>
  <p:clrMapOvr>
    <a:masterClrMapping/>
  </p:clrMapOvr>
  <p:transition>
    <p:fade/>
  </p:transition>
  <p:extLst>
    <p:ext uri="{DCECCB84-F9BA-43D5-87BE-67443E8EF086}">
      <p15:sldGuideLst xmlns:p15="http://schemas.microsoft.com/office/powerpoint/2012/main"/>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054150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674283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297511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9918026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1186587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2665772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25042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3124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0077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72333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271534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99"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43375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8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800"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0234238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64320"/>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2000">
                <a:solidFill>
                  <a:srgbClr val="000000"/>
                </a:solidFill>
              </a:defRPr>
            </a:lvl2pPr>
            <a:lvl3pPr marL="448107" indent="0">
              <a:spcBef>
                <a:spcPts val="0"/>
              </a:spcBef>
              <a:spcAft>
                <a:spcPts val="1273"/>
              </a:spcAft>
              <a:buNone/>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26973881"/>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64320"/>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800"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2000">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20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87798"/>
          </a:xfrm>
        </p:spPr>
        <p:txBody>
          <a:bodyPr wrap="square" lIns="0" tIns="0" rIns="0" bIns="0">
            <a:spAutoFit/>
          </a:bodyPr>
          <a:lstStyle>
            <a:lvl1pPr marL="0" indent="0">
              <a:lnSpc>
                <a:spcPct val="90000"/>
              </a:lnSpc>
              <a:spcBef>
                <a:spcPts val="0"/>
              </a:spcBef>
              <a:spcAft>
                <a:spcPts val="1273"/>
              </a:spcAft>
              <a:buNone/>
              <a:defRPr sz="2800"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00960476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51816828"/>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60820838"/>
      </p:ext>
    </p:extLst>
  </p:cSld>
  <p:clrMapOvr>
    <a:masterClrMapping/>
  </p:clrMapOvr>
  <p:transition>
    <p:fade/>
  </p:transition>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2482224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800">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18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62257178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5888" y="4927922"/>
            <a:ext cx="3627659" cy="1333698"/>
          </a:xfrm>
        </p:spPr>
        <p:txBody>
          <a:bodyPr lIns="0" tIns="0" rIns="0" bIns="0"/>
          <a:lstStyle>
            <a:lvl1pPr marL="0" indent="0">
              <a:lnSpc>
                <a:spcPct val="100000"/>
              </a:lnSpc>
              <a:spcBef>
                <a:spcPts val="0"/>
              </a:spcBef>
              <a:spcAft>
                <a:spcPts val="784"/>
              </a:spcAft>
              <a:buNone/>
              <a:defRPr sz="16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90825" y="4927922"/>
            <a:ext cx="3623051"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33698"/>
          </a:xfrm>
        </p:spPr>
        <p:txBody>
          <a:bodyPr lIns="0" tIns="0" rIns="0" bIns="0"/>
          <a:lstStyle>
            <a:lvl1pPr marL="0" indent="0">
              <a:lnSpc>
                <a:spcPct val="100000"/>
              </a:lnSpc>
              <a:spcBef>
                <a:spcPts val="0"/>
              </a:spcBef>
              <a:spcAft>
                <a:spcPts val="784"/>
              </a:spcAft>
              <a:buNone/>
              <a:defRPr sz="16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6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51794737"/>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179810"/>
          </a:xfrm>
        </p:spPr>
        <p:txBody>
          <a:bodyPr lIns="0" tIns="0" rIns="0" bIns="0"/>
          <a:lstStyle>
            <a:lvl1pPr marL="0" indent="0">
              <a:lnSpc>
                <a:spcPct val="100000"/>
              </a:lnSpc>
              <a:spcBef>
                <a:spcPts val="0"/>
              </a:spcBef>
              <a:spcAft>
                <a:spcPts val="784"/>
              </a:spcAft>
              <a:buNone/>
              <a:defRPr sz="1400"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179810"/>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3"/>
            <a:ext cx="2653417" cy="964367"/>
          </a:xfrm>
        </p:spPr>
        <p:txBody>
          <a:bodyPr lIns="0" tIns="0" rIns="0" bIns="0"/>
          <a:lstStyle>
            <a:lvl1pPr marL="0" indent="0">
              <a:lnSpc>
                <a:spcPct val="100000"/>
              </a:lnSpc>
              <a:spcBef>
                <a:spcPts val="0"/>
              </a:spcBef>
              <a:spcAft>
                <a:spcPts val="784"/>
              </a:spcAft>
              <a:buNone/>
              <a:defRPr sz="1400">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31697484"/>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5245311"/>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961383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898937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399"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7421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62125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572402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2036926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84010"/>
            <a:ext cx="4167887" cy="1049528"/>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2"/>
            <a:ext cx="4164583" cy="276999"/>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BE6F98E3-874C-43FA-987E-AFD262B44846}"/>
              </a:ext>
            </a:extLst>
          </p:cNvPr>
          <p:cNvPicPr>
            <a:picLocks noChangeAspect="1"/>
          </p:cNvPicPr>
          <p:nvPr userDrawn="1"/>
        </p:nvPicPr>
        <p:blipFill>
          <a:blip r:embed="rId3"/>
          <a:stretch>
            <a:fillRect/>
          </a:stretch>
        </p:blipFill>
        <p:spPr>
          <a:xfrm>
            <a:off x="5327503" y="0"/>
            <a:ext cx="6864497" cy="6858000"/>
          </a:xfrm>
          <a:prstGeom prst="rect">
            <a:avLst/>
          </a:prstGeom>
        </p:spPr>
      </p:pic>
    </p:spTree>
    <p:extLst>
      <p:ext uri="{BB962C8B-B14F-4D97-AF65-F5344CB8AC3E}">
        <p14:creationId xmlns:p14="http://schemas.microsoft.com/office/powerpoint/2010/main" val="2838175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84909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32E747B-2120-44FE-9399-74B047FC23FC}"/>
              </a:ext>
            </a:extLst>
          </p:cNvPr>
          <p:cNvSpPr/>
          <p:nvPr userDrawn="1"/>
        </p:nvSpPr>
        <p:spPr bwMode="auto">
          <a:xfrm>
            <a:off x="6041551" y="0"/>
            <a:ext cx="6150450" cy="6858000"/>
          </a:xfrm>
          <a:custGeom>
            <a:avLst/>
            <a:gdLst>
              <a:gd name="connsiteX0" fmla="*/ 0 w 6150450"/>
              <a:gd name="connsiteY0" fmla="*/ 0 h 6858000"/>
              <a:gd name="connsiteX1" fmla="*/ 6150450 w 6150450"/>
              <a:gd name="connsiteY1" fmla="*/ 0 h 6858000"/>
              <a:gd name="connsiteX2" fmla="*/ 6150450 w 6150450"/>
              <a:gd name="connsiteY2" fmla="*/ 6858000 h 6858000"/>
              <a:gd name="connsiteX3" fmla="*/ 847759 w 6150450"/>
              <a:gd name="connsiteY3" fmla="*/ 6858000 h 6858000"/>
              <a:gd name="connsiteX4" fmla="*/ 883714 w 6150450"/>
              <a:gd name="connsiteY4" fmla="*/ 6766810 h 6858000"/>
              <a:gd name="connsiteX5" fmla="*/ 1331778 w 6150450"/>
              <a:gd name="connsiteY5" fmla="*/ 4227918 h 6858000"/>
              <a:gd name="connsiteX6" fmla="*/ 70694 w 6150450"/>
              <a:gd name="connsiteY6" fmla="*/ 994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0450" h="6858000">
                <a:moveTo>
                  <a:pt x="0" y="0"/>
                </a:moveTo>
                <a:lnTo>
                  <a:pt x="6150450" y="0"/>
                </a:lnTo>
                <a:lnTo>
                  <a:pt x="6150450" y="6858000"/>
                </a:lnTo>
                <a:lnTo>
                  <a:pt x="847759" y="6858000"/>
                </a:lnTo>
                <a:lnTo>
                  <a:pt x="883714" y="6766810"/>
                </a:lnTo>
                <a:cubicBezTo>
                  <a:pt x="1173583" y="5975143"/>
                  <a:pt x="1331778" y="5120005"/>
                  <a:pt x="1331778" y="4227918"/>
                </a:cubicBezTo>
                <a:cubicBezTo>
                  <a:pt x="1331778" y="2698627"/>
                  <a:pt x="866877" y="1277918"/>
                  <a:pt x="70694" y="99413"/>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34865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2673647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3"/>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36587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6" y="3029995"/>
            <a:ext cx="9401560" cy="1793104"/>
          </a:xfrm>
          <a:noFill/>
        </p:spPr>
        <p:txBody>
          <a:bodyPr lIns="0" tIns="0" rIns="0" bIns="182880" anchor="b" anchorCtr="0"/>
          <a:lstStyle>
            <a:lvl1pPr>
              <a:defRPr sz="5295"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9"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3648676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4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142" indent="0">
              <a:buNone/>
              <a:defRPr sz="1765"/>
            </a:lvl2pPr>
            <a:lvl3pPr marL="448285" indent="0">
              <a:buNone/>
              <a:defRPr sz="1765"/>
            </a:lvl3pPr>
            <a:lvl4pPr marL="672427" indent="0">
              <a:buNone/>
              <a:defRPr sz="1765"/>
            </a:lvl4pPr>
            <a:lvl5pPr marL="896569"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3723198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5"/>
              </a:spcAft>
              <a:buNone/>
              <a:defRPr sz="2549" b="0" i="0">
                <a:solidFill>
                  <a:srgbClr val="000000"/>
                </a:solidFill>
                <a:latin typeface="+mn-lt"/>
              </a:defRPr>
            </a:lvl1pPr>
            <a:lvl2pPr marL="224142" indent="0">
              <a:lnSpc>
                <a:spcPct val="90000"/>
              </a:lnSpc>
              <a:spcBef>
                <a:spcPts val="0"/>
              </a:spcBef>
              <a:spcAft>
                <a:spcPts val="1275"/>
              </a:spcAft>
              <a:buNone/>
              <a:defRPr sz="1961">
                <a:solidFill>
                  <a:srgbClr val="000000"/>
                </a:solidFill>
              </a:defRPr>
            </a:lvl2pPr>
            <a:lvl3pPr marL="448285" indent="0">
              <a:spcBef>
                <a:spcPts val="0"/>
              </a:spcBef>
              <a:spcAft>
                <a:spcPts val="1275"/>
              </a:spcAft>
              <a:buNone/>
              <a:defRPr sz="1961">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14526303"/>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971" indent="-268971">
              <a:lnSpc>
                <a:spcPct val="90000"/>
              </a:lnSpc>
              <a:spcBef>
                <a:spcPts val="0"/>
              </a:spcBef>
              <a:spcAft>
                <a:spcPts val="1275"/>
              </a:spcAft>
              <a:buClr>
                <a:srgbClr val="000000"/>
              </a:buClr>
              <a:buSzPct val="77000"/>
              <a:buFont typeface="Arial" panose="020B0604020202020204" pitchFamily="34" charset="0"/>
              <a:buChar char="•"/>
              <a:defRPr sz="2549" b="0" i="0">
                <a:solidFill>
                  <a:srgbClr val="000000"/>
                </a:solidFill>
                <a:latin typeface="+mn-lt"/>
              </a:defRPr>
            </a:lvl1pPr>
            <a:lvl2pPr marL="537942" indent="-224142">
              <a:lnSpc>
                <a:spcPct val="90000"/>
              </a:lnSpc>
              <a:spcBef>
                <a:spcPts val="0"/>
              </a:spcBef>
              <a:spcAft>
                <a:spcPts val="1275"/>
              </a:spcAft>
              <a:buClr>
                <a:srgbClr val="000000"/>
              </a:buClr>
              <a:buSzPct val="77000"/>
              <a:buFont typeface="Arial" panose="020B0604020202020204" pitchFamily="34" charset="0"/>
              <a:buChar char="•"/>
              <a:defRPr sz="1961">
                <a:solidFill>
                  <a:srgbClr val="000000"/>
                </a:solidFill>
              </a:defRPr>
            </a:lvl2pPr>
            <a:lvl3pPr marL="806912" indent="-224142">
              <a:spcBef>
                <a:spcPts val="0"/>
              </a:spcBef>
              <a:spcAft>
                <a:spcPts val="1275"/>
              </a:spcAft>
              <a:buClr>
                <a:srgbClr val="000000"/>
              </a:buClr>
              <a:buSzPct val="77000"/>
              <a:buFont typeface="Arial" panose="020B0604020202020204" pitchFamily="34" charset="0"/>
              <a:buChar char="•"/>
              <a:defRPr sz="1961">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4"/>
            <a:ext cx="11339774" cy="353070"/>
          </a:xfrm>
        </p:spPr>
        <p:txBody>
          <a:bodyPr wrap="square" lIns="0" tIns="0" rIns="0" bIns="0">
            <a:spAutoFit/>
          </a:bodyPr>
          <a:lstStyle>
            <a:lvl1pPr marL="0" indent="0">
              <a:lnSpc>
                <a:spcPct val="90000"/>
              </a:lnSpc>
              <a:spcBef>
                <a:spcPts val="0"/>
              </a:spcBef>
              <a:spcAft>
                <a:spcPts val="1275"/>
              </a:spcAft>
              <a:buNone/>
              <a:defRPr sz="2549" b="0" i="0">
                <a:solidFill>
                  <a:srgbClr val="000000"/>
                </a:solidFill>
                <a:latin typeface="+mn-lt"/>
              </a:defRPr>
            </a:lvl1pPr>
            <a:lvl2pPr marL="224142" indent="0">
              <a:lnSpc>
                <a:spcPct val="90000"/>
              </a:lnSpc>
              <a:spcBef>
                <a:spcPts val="0"/>
              </a:spcBef>
              <a:spcAft>
                <a:spcPts val="1275"/>
              </a:spcAft>
              <a:buNone/>
              <a:defRPr sz="1961">
                <a:solidFill>
                  <a:schemeClr val="tx2"/>
                </a:solidFill>
              </a:defRPr>
            </a:lvl2pPr>
            <a:lvl3pPr marL="448285" indent="0">
              <a:spcBef>
                <a:spcPts val="0"/>
              </a:spcBef>
              <a:spcAft>
                <a:spcPts val="1275"/>
              </a:spcAft>
              <a:buNone/>
              <a:defRPr sz="1961"/>
            </a:lvl3pPr>
            <a:lvl4pPr marL="672427" indent="0">
              <a:spcBef>
                <a:spcPts val="0"/>
              </a:spcBef>
              <a:spcAft>
                <a:spcPts val="1275"/>
              </a:spcAft>
              <a:buNone/>
              <a:defRPr sz="1961"/>
            </a:lvl4pPr>
            <a:lvl5pPr marL="896569" indent="0">
              <a:buNone/>
              <a:defRPr/>
            </a:lvl5pPr>
          </a:lstStyle>
          <a:p>
            <a:pPr lvl="0"/>
            <a:r>
              <a:rPr lang="en-US"/>
              <a:t>Subtitle Segoe UI 26pt</a:t>
            </a:r>
          </a:p>
        </p:txBody>
      </p:sp>
    </p:spTree>
    <p:extLst>
      <p:ext uri="{BB962C8B-B14F-4D97-AF65-F5344CB8AC3E}">
        <p14:creationId xmlns:p14="http://schemas.microsoft.com/office/powerpoint/2010/main" val="261880910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591700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3"/>
            <a:ext cx="5982389"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7"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6" cy="2573509"/>
          </a:xfrm>
        </p:spPr>
        <p:txBody>
          <a:bodyPr wrap="square" lIns="0" tIns="0" rIns="0" bIns="0">
            <a:noAutofit/>
          </a:bodyPr>
          <a:lstStyle>
            <a:lvl1pPr marL="0" marR="0" indent="0" algn="l" defTabSz="914554"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3690952"/>
      </p:ext>
    </p:extLst>
  </p:cSld>
  <p:clrMapOvr>
    <a:masterClrMapping/>
  </p:clrMapOvr>
  <p:transition>
    <p:fade/>
  </p:transition>
  <p:extLst>
    <p:ext uri="{DCECCB84-F9BA-43D5-87BE-67443E8EF086}">
      <p15:sldGuideLst xmlns:p15="http://schemas.microsoft.com/office/powerpoint/2012/main"/>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6" y="2145844"/>
            <a:ext cx="5138175" cy="2573509"/>
          </a:xfrm>
        </p:spPr>
        <p:txBody>
          <a:bodyPr wrap="square" lIns="0" tIns="0" rIns="0" bIns="0">
            <a:noAutofit/>
          </a:bodyPr>
          <a:lstStyle>
            <a:lvl1pPr marL="0" marR="0" indent="0" algn="l" defTabSz="914554"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97822514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2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6"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9" b="1">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90825466"/>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8"/>
            <a:ext cx="2653418"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5" y="435827"/>
            <a:ext cx="11336038"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6"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60"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4927922"/>
            <a:ext cx="2653418" cy="1307666"/>
          </a:xfrm>
        </p:spPr>
        <p:txBody>
          <a:bodyPr lIns="0" tIns="0" rIns="0" bIns="0"/>
          <a:lstStyle>
            <a:lvl1pPr marL="0" indent="0">
              <a:lnSpc>
                <a:spcPct val="100000"/>
              </a:lnSpc>
              <a:spcBef>
                <a:spcPts val="0"/>
              </a:spcBef>
              <a:spcAft>
                <a:spcPts val="784"/>
              </a:spcAft>
              <a:buNone/>
              <a:defRPr sz="1569" b="1">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3" y="2135537"/>
            <a:ext cx="1596163"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8" cy="1307666"/>
          </a:xfrm>
        </p:spPr>
        <p:txBody>
          <a:bodyPr lIns="0" tIns="0" rIns="0" bIns="0"/>
          <a:lstStyle>
            <a:lvl1pPr marL="0" indent="0">
              <a:lnSpc>
                <a:spcPct val="100000"/>
              </a:lnSpc>
              <a:spcBef>
                <a:spcPts val="0"/>
              </a:spcBef>
              <a:spcAft>
                <a:spcPts val="784"/>
              </a:spcAft>
              <a:buNone/>
              <a:defRPr sz="1569">
                <a:solidFill>
                  <a:schemeClr val="accent1"/>
                </a:solidFill>
                <a:latin typeface="+mj-lt"/>
              </a:defRPr>
            </a:lvl1pPr>
            <a:lvl2pPr marL="0" marR="0" indent="0" algn="l" defTabSz="914554" rtl="0" eaLnBrk="1" fontAlgn="auto" latinLnBrk="0" hangingPunct="1">
              <a:lnSpc>
                <a:spcPct val="100000"/>
              </a:lnSpc>
              <a:spcBef>
                <a:spcPts val="0"/>
              </a:spcBef>
              <a:spcAft>
                <a:spcPts val="784"/>
              </a:spcAft>
              <a:buClrTx/>
              <a:buSzPct val="90000"/>
              <a:buFont typeface="Arial" panose="020B0604020202020204" pitchFamily="34" charset="0"/>
              <a:buNone/>
              <a:tabLst/>
              <a:defRPr sz="1569">
                <a:solidFill>
                  <a:srgbClr val="000000"/>
                </a:solidFill>
              </a:defRPr>
            </a:lvl2pPr>
            <a:lvl3pPr marL="448285" indent="0">
              <a:buNone/>
              <a:defRPr/>
            </a:lvl3pPr>
            <a:lvl4pPr marL="672427" indent="0">
              <a:buNone/>
              <a:defRPr/>
            </a:lvl4pPr>
            <a:lvl5pPr marL="896569"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93754870"/>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5" y="2135536"/>
            <a:ext cx="11336038"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5" y="440498"/>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86616936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rgbClr val="000000"/>
                </a:solidFill>
              </a:defRPr>
            </a:lvl1pPr>
          </a:lstStyle>
          <a:p>
            <a:pPr marL="0" lvl="0">
              <a:lnSpc>
                <a:spcPts val="5491"/>
              </a:lnSpc>
            </a:pPr>
            <a:r>
              <a:rPr lang="en-US"/>
              <a:t>Section title</a:t>
            </a:r>
          </a:p>
        </p:txBody>
      </p:sp>
    </p:spTree>
    <p:extLst>
      <p:ext uri="{BB962C8B-B14F-4D97-AF65-F5344CB8AC3E}">
        <p14:creationId xmlns:p14="http://schemas.microsoft.com/office/powerpoint/2010/main" val="3622542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2632807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5" spc="-147" dirty="0">
                <a:solidFill>
                  <a:srgbClr val="000000"/>
                </a:solidFill>
              </a:defRPr>
            </a:lvl1pPr>
          </a:lstStyle>
          <a:p>
            <a:pPr marL="0" lvl="0">
              <a:lnSpc>
                <a:spcPts val="5491"/>
              </a:lnSpc>
            </a:pPr>
            <a:r>
              <a:rPr lang="en-US"/>
              <a:t>Section title</a:t>
            </a:r>
          </a:p>
        </p:txBody>
      </p:sp>
      <p:pic>
        <p:nvPicPr>
          <p:cNvPr id="15" name="Picture 14">
            <a:extLst>
              <a:ext uri="{FF2B5EF4-FFF2-40B4-BE49-F238E27FC236}">
                <a16:creationId xmlns:a16="http://schemas.microsoft.com/office/drawing/2014/main" id="{039B48BC-8A33-8040-963C-B5859FDBCAC8}"/>
              </a:ext>
            </a:extLst>
          </p:cNvPr>
          <p:cNvPicPr>
            <a:picLocks noChangeAspect="1"/>
          </p:cNvPicPr>
          <p:nvPr/>
        </p:nvPicPr>
        <p:blipFill rotWithShape="1">
          <a:blip r:embed="rId2">
            <a:extLst>
              <a:ext uri="{28A0092B-C50C-407E-A947-70E740481C1C}">
                <a14:useLocalDpi xmlns:a14="http://schemas.microsoft.com/office/drawing/2010/main" val="0"/>
              </a:ext>
            </a:extLst>
          </a:blip>
          <a:srcRect t="8067" r="11211" b="16829"/>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3E9CC858-F882-8746-886C-1C91E8DF812D}"/>
              </a:ext>
            </a:extLst>
          </p:cNvPr>
          <p:cNvSpPr/>
          <p:nvPr/>
        </p:nvSpPr>
        <p:spPr bwMode="auto">
          <a:xfrm>
            <a:off x="0" y="0"/>
            <a:ext cx="12192000" cy="6858000"/>
          </a:xfrm>
          <a:prstGeom prst="rect">
            <a:avLst/>
          </a:prstGeom>
          <a:gradFill flip="none" rotWithShape="1">
            <a:gsLst>
              <a:gs pos="0">
                <a:schemeClr val="accent6">
                  <a:lumMod val="0"/>
                  <a:alpha val="82000"/>
                </a:schemeClr>
              </a:gs>
              <a:gs pos="35000">
                <a:srgbClr val="000000">
                  <a:alpha val="29000"/>
                </a:srgbClr>
              </a:gs>
              <a:gs pos="67000">
                <a:srgbClr val="000000">
                  <a:lumMod val="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418524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355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5"/>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40"/>
            <a:ext cx="896425" cy="190218"/>
          </a:xfrm>
          <a:prstGeom prst="rect">
            <a:avLst/>
          </a:prstGeom>
        </p:spPr>
      </p:pic>
    </p:spTree>
    <p:extLst>
      <p:ext uri="{BB962C8B-B14F-4D97-AF65-F5344CB8AC3E}">
        <p14:creationId xmlns:p14="http://schemas.microsoft.com/office/powerpoint/2010/main" val="4208578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5"/>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110"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3"/>
            <a:ext cx="896425" cy="191140"/>
          </a:xfrm>
          <a:prstGeom prst="rect">
            <a:avLst/>
          </a:prstGeom>
        </p:spPr>
      </p:pic>
    </p:spTree>
    <p:extLst>
      <p:ext uri="{BB962C8B-B14F-4D97-AF65-F5344CB8AC3E}">
        <p14:creationId xmlns:p14="http://schemas.microsoft.com/office/powerpoint/2010/main" val="2532538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38477" y="1132732"/>
            <a:ext cx="11653523" cy="1985641"/>
          </a:xfrm>
        </p:spPr>
        <p:txBody>
          <a:bodyPr>
            <a:spAutoFit/>
          </a:bodyPr>
          <a:lstStyle>
            <a:lvl1pPr marL="0" indent="0">
              <a:buNone/>
              <a:defRPr sz="3529">
                <a:solidFill>
                  <a:schemeClr val="bg2">
                    <a:lumMod val="25000"/>
                  </a:schemeClr>
                </a:solidFill>
                <a:latin typeface="Segoe UI Light" panose="020B0502040204020203" pitchFamily="34" charset="0"/>
                <a:cs typeface="Segoe UI Light" panose="020B0502040204020203" pitchFamily="34" charset="0"/>
              </a:defRPr>
            </a:lvl1pPr>
            <a:lvl2pPr marL="336145" indent="0">
              <a:buNone/>
              <a:defRPr>
                <a:latin typeface="Segoe UI Light" panose="020B0502040204020203" pitchFamily="34" charset="0"/>
                <a:cs typeface="Segoe UI Light" panose="020B0502040204020203" pitchFamily="34" charset="0"/>
              </a:defRPr>
            </a:lvl2pPr>
            <a:lvl3pPr marL="560241" indent="0">
              <a:buNone/>
              <a:defRPr>
                <a:latin typeface="Segoe UI Light" panose="020B0502040204020203" pitchFamily="34" charset="0"/>
                <a:cs typeface="Segoe UI Light" panose="020B0502040204020203" pitchFamily="34" charset="0"/>
              </a:defRPr>
            </a:lvl3pPr>
            <a:lvl4pPr marL="784338" indent="0">
              <a:buNone/>
              <a:defRPr>
                <a:latin typeface="Segoe UI Light" panose="020B0502040204020203" pitchFamily="34" charset="0"/>
                <a:cs typeface="Segoe UI Light" panose="020B0502040204020203" pitchFamily="34" charset="0"/>
              </a:defRPr>
            </a:lvl4pPr>
            <a:lvl5pPr marL="1008434" indent="0">
              <a:buNone/>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39" y="154045"/>
            <a:ext cx="11655840" cy="899665"/>
          </a:xfrm>
        </p:spPr>
        <p:txBody>
          <a:bodyPr/>
          <a:lstStyle/>
          <a:p>
            <a:r>
              <a:rPr lang="en-US"/>
              <a:t>Click to edit Master title style</a:t>
            </a:r>
          </a:p>
        </p:txBody>
      </p:sp>
      <p:sp>
        <p:nvSpPr>
          <p:cNvPr id="5" name="Slide Number Placeholder 2"/>
          <p:cNvSpPr>
            <a:spLocks noGrp="1"/>
          </p:cNvSpPr>
          <p:nvPr>
            <p:ph type="sldNum" sz="quarter" idx="4"/>
          </p:nvPr>
        </p:nvSpPr>
        <p:spPr>
          <a:xfrm>
            <a:off x="11140434" y="6388399"/>
            <a:ext cx="916142" cy="357998"/>
          </a:xfrm>
          <a:prstGeom prst="rect">
            <a:avLst/>
          </a:prstGeom>
        </p:spPr>
        <p:txBody>
          <a:bodyPr vert="horz" lIns="91440" tIns="45720" rIns="91440" bIns="45720" rtlCol="0" anchor="ctr"/>
          <a:lstStyle>
            <a:lvl1pPr algn="r">
              <a:defRPr sz="1176">
                <a:solidFill>
                  <a:schemeClr val="tx1">
                    <a:tint val="75000"/>
                  </a:schemeClr>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34880684-B6D4-4B89-A9A9-1F9D85279D31}"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50643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89B3506-7AA2-461C-BA15-9CE9214D4102}" type="datetimeFigureOut">
              <a:rPr kumimoji="0" lang="en-US" sz="1800"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1/2022</a:t>
            </a:fld>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1D39C11-CDAB-4695-8A57-459E544BC027}" type="slidenum">
              <a:rPr kumimoji="0" lang="en-US" sz="1800" b="0" i="0" u="none" strike="noStrike" kern="1200" cap="none" spc="0" normalizeH="0" baseline="0" noProof="0" smtClean="0">
                <a:ln>
                  <a:noFill/>
                </a:ln>
                <a:solidFill>
                  <a:srgbClr val="28282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6085806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033085"/>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itle and Content Bullets (Text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32530-3FBE-5A42-9B04-A71A22669E03}"/>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p>
        </p:txBody>
      </p:sp>
      <p:sp>
        <p:nvSpPr>
          <p:cNvPr id="8" name="Content Placeholder 1">
            <a:extLst>
              <a:ext uri="{FF2B5EF4-FFF2-40B4-BE49-F238E27FC236}">
                <a16:creationId xmlns:a16="http://schemas.microsoft.com/office/drawing/2014/main" id="{85AEE1C2-4909-C34F-8C3B-1FECFD978455}"/>
              </a:ext>
            </a:extLst>
          </p:cNvPr>
          <p:cNvSpPr>
            <a:spLocks noGrp="1"/>
          </p:cNvSpPr>
          <p:nvPr>
            <p:ph sz="quarter" idx="11"/>
          </p:nvPr>
        </p:nvSpPr>
        <p:spPr>
          <a:xfrm>
            <a:off x="586390" y="1760013"/>
            <a:ext cx="3566510"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
            <a:extLst>
              <a:ext uri="{FF2B5EF4-FFF2-40B4-BE49-F238E27FC236}">
                <a16:creationId xmlns:a16="http://schemas.microsoft.com/office/drawing/2014/main" id="{078377DE-DBE9-4E42-AE4E-89764637DB97}"/>
              </a:ext>
            </a:extLst>
          </p:cNvPr>
          <p:cNvSpPr>
            <a:spLocks noGrp="1"/>
          </p:cNvSpPr>
          <p:nvPr>
            <p:ph type="pic" sz="quarter" idx="13"/>
          </p:nvPr>
        </p:nvSpPr>
        <p:spPr>
          <a:xfrm>
            <a:off x="4348480" y="1760013"/>
            <a:ext cx="7298088" cy="4640788"/>
          </a:xfrm>
          <a:prstGeom prst="rect">
            <a:avLst/>
          </a:prstGeo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2172439581"/>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sz="3921"/>
            </a:lvl1pPr>
          </a:lstStyle>
          <a:p>
            <a:r>
              <a:rPr lang="en-US"/>
              <a:t>Title Text Style</a:t>
            </a:r>
          </a:p>
        </p:txBody>
      </p:sp>
      <p:sp>
        <p:nvSpPr>
          <p:cNvPr id="4" name="Content Placeholder 3"/>
          <p:cNvSpPr>
            <a:spLocks noGrp="1"/>
          </p:cNvSpPr>
          <p:nvPr>
            <p:ph sz="quarter" idx="10" hasCustomPrompt="1"/>
          </p:nvPr>
        </p:nvSpPr>
        <p:spPr>
          <a:xfrm>
            <a:off x="269240" y="1189176"/>
            <a:ext cx="11655078" cy="1267431"/>
          </a:xfrm>
        </p:spPr>
        <p:txBody>
          <a:bodyPr/>
          <a:lstStyle>
            <a:lvl1pPr>
              <a:defRPr sz="2353"/>
            </a:lvl1pPr>
            <a:lvl2pPr marL="0" indent="0">
              <a:buNone/>
              <a:defRPr sz="1765"/>
            </a:lvl2pPr>
            <a:lvl3pPr marL="0" indent="0">
              <a:defRPr sz="1765"/>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Rectangle 4">
            <a:extLst>
              <a:ext uri="{FF2B5EF4-FFF2-40B4-BE49-F238E27FC236}">
                <a16:creationId xmlns:a16="http://schemas.microsoft.com/office/drawing/2014/main" id="{647502F9-3067-46B3-B966-682A14C65934}"/>
              </a:ext>
            </a:extLst>
          </p:cNvPr>
          <p:cNvSpPr/>
          <p:nvPr/>
        </p:nvSpPr>
        <p:spPr>
          <a:xfrm>
            <a:off x="12048821" y="-1"/>
            <a:ext cx="143179" cy="685800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6" name="Footer Placeholder 2">
            <a:extLst>
              <a:ext uri="{FF2B5EF4-FFF2-40B4-BE49-F238E27FC236}">
                <a16:creationId xmlns:a16="http://schemas.microsoft.com/office/drawing/2014/main" id="{60AEE215-874F-4FD2-AA4E-753A100899E3}"/>
              </a:ext>
            </a:extLst>
          </p:cNvPr>
          <p:cNvSpPr txBox="1">
            <a:spLocks/>
          </p:cNvSpPr>
          <p:nvPr/>
        </p:nvSpPr>
        <p:spPr>
          <a:xfrm>
            <a:off x="4038582" y="6493776"/>
            <a:ext cx="4114839" cy="364224"/>
          </a:xfrm>
          <a:prstGeom prst="rect">
            <a:avLst/>
          </a:prstGeom>
        </p:spPr>
        <p:txBody>
          <a:bodyPr vert="horz" lIns="182880" tIns="45720" rIns="182880" bIns="4572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r>
              <a:rPr lang="en-IN">
                <a:solidFill>
                  <a:schemeClr val="tx1"/>
                </a:solidFill>
              </a:rPr>
              <a:t>Microsoft Confidential, Shared under NDA</a:t>
            </a:r>
            <a:endParaRPr lang="en-US">
              <a:solidFill>
                <a:schemeClr val="tx1"/>
              </a:solidFill>
            </a:endParaRPr>
          </a:p>
        </p:txBody>
      </p:sp>
    </p:spTree>
    <p:extLst>
      <p:ext uri="{BB962C8B-B14F-4D97-AF65-F5344CB8AC3E}">
        <p14:creationId xmlns:p14="http://schemas.microsoft.com/office/powerpoint/2010/main" val="269087420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4316676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106B06AA-85BA-477C-9561-F51AD9204F16}"/>
              </a:ext>
            </a:extLst>
          </p:cNvPr>
          <p:cNvSpPr>
            <a:spLocks noGrp="1"/>
          </p:cNvSpPr>
          <p:nvPr>
            <p:ph type="title" hasCustomPrompt="1"/>
          </p:nvPr>
        </p:nvSpPr>
        <p:spPr/>
        <p:txBody>
          <a:bodyPr/>
          <a:lstStyle>
            <a:lvl1pPr>
              <a:defRPr/>
            </a:lvl1pPr>
          </a:lstStyle>
          <a:p>
            <a:r>
              <a:rPr lang="en-US"/>
              <a:t>Title</a:t>
            </a:r>
          </a:p>
        </p:txBody>
      </p:sp>
    </p:spTree>
    <p:extLst>
      <p:ext uri="{BB962C8B-B14F-4D97-AF65-F5344CB8AC3E}">
        <p14:creationId xmlns:p14="http://schemas.microsoft.com/office/powerpoint/2010/main" val="361509570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89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6558566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36833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9817-D757-42AE-BDF2-2D51797465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BCDE5D-2C02-4B55-B61F-C96B16378E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52CAE0-C932-4F2F-9B8E-51C00C0B5E6A}"/>
              </a:ext>
            </a:extLst>
          </p:cNvPr>
          <p:cNvSpPr>
            <a:spLocks noGrp="1"/>
          </p:cNvSpPr>
          <p:nvPr>
            <p:ph type="dt" sz="half" idx="10"/>
          </p:nvPr>
        </p:nvSpPr>
        <p:spPr/>
        <p:txBody>
          <a:bodyPr/>
          <a:lstStyle/>
          <a:p>
            <a:fld id="{376FBADB-AA92-4C58-9FE0-28EFC969DC0F}" type="datetimeFigureOut">
              <a:rPr lang="en-US" smtClean="0"/>
              <a:t>8/11/2022</a:t>
            </a:fld>
            <a:endParaRPr lang="en-US"/>
          </a:p>
        </p:txBody>
      </p:sp>
      <p:sp>
        <p:nvSpPr>
          <p:cNvPr id="5" name="Footer Placeholder 4">
            <a:extLst>
              <a:ext uri="{FF2B5EF4-FFF2-40B4-BE49-F238E27FC236}">
                <a16:creationId xmlns:a16="http://schemas.microsoft.com/office/drawing/2014/main" id="{547DA793-E2B3-41DB-9AC9-CC01E5C53B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9FB81-F676-4AE8-A9CE-88187A90B8A4}"/>
              </a:ext>
            </a:extLst>
          </p:cNvPr>
          <p:cNvSpPr>
            <a:spLocks noGrp="1"/>
          </p:cNvSpPr>
          <p:nvPr>
            <p:ph type="sldNum" sz="quarter" idx="12"/>
          </p:nvPr>
        </p:nvSpPr>
        <p:spPr/>
        <p:txBody>
          <a:bodyPr/>
          <a:lstStyle/>
          <a:p>
            <a:fld id="{2AB9AF5C-948F-4BDE-9931-D40884F2EE86}" type="slidenum">
              <a:rPr lang="en-US" smtClean="0"/>
              <a:t>‹#›</a:t>
            </a:fld>
            <a:endParaRPr lang="en-US"/>
          </a:p>
        </p:txBody>
      </p:sp>
    </p:spTree>
    <p:extLst>
      <p:ext uri="{BB962C8B-B14F-4D97-AF65-F5344CB8AC3E}">
        <p14:creationId xmlns:p14="http://schemas.microsoft.com/office/powerpoint/2010/main" val="386925176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226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17200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438218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3632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Icon&#10;&#10;Description automatically generated">
            <a:extLst>
              <a:ext uri="{FF2B5EF4-FFF2-40B4-BE49-F238E27FC236}">
                <a16:creationId xmlns:a16="http://schemas.microsoft.com/office/drawing/2014/main" id="{7AD7BBEE-A903-0B4D-88A2-3693C040030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81930" y="879927"/>
            <a:ext cx="6667500" cy="5054600"/>
          </a:xfrm>
          <a:prstGeom prst="rect">
            <a:avLst/>
          </a:prstGeom>
        </p:spPr>
      </p:pic>
    </p:spTree>
    <p:extLst>
      <p:ext uri="{BB962C8B-B14F-4D97-AF65-F5344CB8AC3E}">
        <p14:creationId xmlns:p14="http://schemas.microsoft.com/office/powerpoint/2010/main" val="1599980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7784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188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654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3926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32237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6229595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139271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8457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386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0926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984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1828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9032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9814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68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532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35611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38449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6956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65518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1418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1266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39524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748488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79755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91903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265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1951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67852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69580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55670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23716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82697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09190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10409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22773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61427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7139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67427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175872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067876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229688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62818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880513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8328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080123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850512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130023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3596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9693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7393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1416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68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504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4208037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36200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770894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155934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326912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51294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664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0669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45522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7082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862561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34491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303467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6421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364537"/>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7766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505040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760030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245322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37711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4218897466"/>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2978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17923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8019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83780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224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895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12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610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3040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6634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05468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4632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1362035"/>
            <a:ext cx="9144000" cy="460126"/>
          </a:xfrm>
        </p:spPr>
        <p:txBody>
          <a:bodyPr vert="horz" wrap="square" lIns="0" tIns="0" rIns="0" bIns="0" rtlCol="0" anchor="t">
            <a:spAutoFit/>
          </a:bodyPr>
          <a:lstStyle>
            <a:lvl1pPr>
              <a:defRPr lang="en-US" dirty="0"/>
            </a:lvl1pPr>
          </a:lstStyle>
          <a:p>
            <a:pPr marL="0" lvl="0"/>
            <a:r>
              <a:rPr lang="en-US"/>
              <a:t>Demo</a:t>
            </a:r>
          </a:p>
        </p:txBody>
      </p:sp>
    </p:spTree>
    <p:extLst>
      <p:ext uri="{BB962C8B-B14F-4D97-AF65-F5344CB8AC3E}">
        <p14:creationId xmlns:p14="http://schemas.microsoft.com/office/powerpoint/2010/main" val="3146087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100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6155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98623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287028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22612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6088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59179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21911"/>
            <a:ext cx="9144000" cy="41417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299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5250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5246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351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418090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3832120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243166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39883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2635227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689862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8669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522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408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54489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201602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263263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enefi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1528097"/>
            <a:ext cx="5246280" cy="434547"/>
          </a:xfrm>
        </p:spPr>
        <p:txBody>
          <a:bodyPr anchor="b" anchorCtr="0"/>
          <a:lstStyle>
            <a:lvl1pPr>
              <a:lnSpc>
                <a:spcPct val="90000"/>
              </a:lnSpc>
              <a:defRPr sz="3137" b="1">
                <a:latin typeface="+mj-lt"/>
              </a:defRPr>
            </a:lvl1pPr>
          </a:lstStyle>
          <a:p>
            <a:r>
              <a:rPr lang="en-US"/>
              <a:t>Click to edit title style</a:t>
            </a:r>
          </a:p>
        </p:txBody>
      </p:sp>
      <p:sp>
        <p:nvSpPr>
          <p:cNvPr id="3" name="Text Placeholder 3">
            <a:extLst>
              <a:ext uri="{FF2B5EF4-FFF2-40B4-BE49-F238E27FC236}">
                <a16:creationId xmlns:a16="http://schemas.microsoft.com/office/drawing/2014/main" id="{15BCE531-2469-4786-B04E-D07B2D7185F1}"/>
              </a:ext>
            </a:extLst>
          </p:cNvPr>
          <p:cNvSpPr>
            <a:spLocks noGrp="1"/>
          </p:cNvSpPr>
          <p:nvPr>
            <p:ph type="body" sz="quarter" idx="10"/>
          </p:nvPr>
        </p:nvSpPr>
        <p:spPr>
          <a:xfrm>
            <a:off x="613203" y="2105569"/>
            <a:ext cx="5246280" cy="307777"/>
          </a:xfrm>
        </p:spPr>
        <p:txBody>
          <a:bodyPr wrap="square">
            <a:spAutoFit/>
          </a:bodyPr>
          <a:lstStyle>
            <a:lvl1pPr marL="0" indent="0">
              <a:buNone/>
              <a:defRPr sz="1961">
                <a:gradFill>
                  <a:gsLst>
                    <a:gs pos="0">
                      <a:schemeClr val="accent1"/>
                    </a:gs>
                    <a:gs pos="100000">
                      <a:schemeClr val="accent1"/>
                    </a:gs>
                  </a:gsLst>
                  <a:lin ang="5400000" scaled="1"/>
                </a:gradFill>
                <a:latin typeface="+mj-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12" name="Text Placeholder 3">
            <a:extLst>
              <a:ext uri="{FF2B5EF4-FFF2-40B4-BE49-F238E27FC236}">
                <a16:creationId xmlns:a16="http://schemas.microsoft.com/office/drawing/2014/main" id="{BEBF9B50-43C8-4AD9-A45A-09462C11ECAB}"/>
              </a:ext>
            </a:extLst>
          </p:cNvPr>
          <p:cNvSpPr>
            <a:spLocks noGrp="1"/>
          </p:cNvSpPr>
          <p:nvPr>
            <p:ph type="body" sz="quarter" idx="12"/>
          </p:nvPr>
        </p:nvSpPr>
        <p:spPr>
          <a:xfrm>
            <a:off x="613202" y="2971607"/>
            <a:ext cx="5221341" cy="271592"/>
          </a:xfrm>
        </p:spPr>
        <p:txBody>
          <a:bodyPr wrap="square" lIns="731520">
            <a:spAutoFit/>
          </a:bodyPr>
          <a:lstStyle>
            <a:lvl1pPr marL="0" indent="0">
              <a:spcAft>
                <a:spcPts val="4117"/>
              </a:spcAft>
              <a:buNone/>
              <a:defRPr sz="1765">
                <a:latin typeface="+mn-lt"/>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9" name="Picture Placeholder 8">
            <a:extLst>
              <a:ext uri="{FF2B5EF4-FFF2-40B4-BE49-F238E27FC236}">
                <a16:creationId xmlns:a16="http://schemas.microsoft.com/office/drawing/2014/main" id="{F0AB602A-C9F2-463C-9DC5-9CA3F92F311E}"/>
              </a:ext>
              <a:ext uri="{C183D7F6-B498-43B3-948B-1728B52AA6E4}">
                <adec:decorative xmlns:adec="http://schemas.microsoft.com/office/drawing/2017/decorative" val="1"/>
              </a:ext>
            </a:extLst>
          </p:cNvPr>
          <p:cNvSpPr>
            <a:spLocks noGrp="1"/>
          </p:cNvSpPr>
          <p:nvPr>
            <p:ph type="pic" sz="quarter" idx="11" hasCustomPrompt="1"/>
          </p:nvPr>
        </p:nvSpPr>
        <p:spPr>
          <a:xfrm>
            <a:off x="5334973" y="0"/>
            <a:ext cx="6851872" cy="6852843"/>
          </a:xfrm>
          <a:custGeom>
            <a:avLst/>
            <a:gdLst>
              <a:gd name="connsiteX0" fmla="*/ 0 w 6989266"/>
              <a:gd name="connsiteY0" fmla="*/ 0 h 6989265"/>
              <a:gd name="connsiteX1" fmla="*/ 6989266 w 6989266"/>
              <a:gd name="connsiteY1" fmla="*/ 0 h 6989265"/>
              <a:gd name="connsiteX2" fmla="*/ 6989266 w 6989266"/>
              <a:gd name="connsiteY2" fmla="*/ 6989265 h 6989265"/>
              <a:gd name="connsiteX3" fmla="*/ 9095 w 6989266"/>
              <a:gd name="connsiteY3" fmla="*/ 359672 h 6989265"/>
            </a:gdLst>
            <a:ahLst/>
            <a:cxnLst>
              <a:cxn ang="0">
                <a:pos x="connsiteX0" y="connsiteY0"/>
              </a:cxn>
              <a:cxn ang="0">
                <a:pos x="connsiteX1" y="connsiteY1"/>
              </a:cxn>
              <a:cxn ang="0">
                <a:pos x="connsiteX2" y="connsiteY2"/>
              </a:cxn>
              <a:cxn ang="0">
                <a:pos x="connsiteX3" y="connsiteY3"/>
              </a:cxn>
            </a:cxnLst>
            <a:rect l="l" t="t" r="r" b="b"/>
            <a:pathLst>
              <a:path w="6989266" h="6989265">
                <a:moveTo>
                  <a:pt x="0" y="0"/>
                </a:moveTo>
                <a:lnTo>
                  <a:pt x="6989266" y="0"/>
                </a:lnTo>
                <a:lnTo>
                  <a:pt x="6989266" y="6989265"/>
                </a:lnTo>
                <a:cubicBezTo>
                  <a:pt x="3249759" y="6989265"/>
                  <a:pt x="196285" y="4052651"/>
                  <a:pt x="9095" y="359672"/>
                </a:cubicBezTo>
                <a:close/>
              </a:path>
            </a:pathLst>
          </a:custGeom>
          <a:blipFill>
            <a:blip r:embed="rId2"/>
            <a:stretch>
              <a:fillRect/>
            </a:stretch>
          </a:blipFill>
        </p:spPr>
        <p:txBody>
          <a:bodyPr vert="horz" wrap="square" lIns="0" tIns="237744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a:p>
            <a:pPr marL="0" lvl="0" indent="0" algn="ctr">
              <a:buNone/>
            </a:pPr>
            <a:endParaRPr lang="en-US"/>
          </a:p>
        </p:txBody>
      </p:sp>
    </p:spTree>
    <p:extLst>
      <p:ext uri="{BB962C8B-B14F-4D97-AF65-F5344CB8AC3E}">
        <p14:creationId xmlns:p14="http://schemas.microsoft.com/office/powerpoint/2010/main" val="1529445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1/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734539980"/>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1/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180523460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11/08/2022</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900044186"/>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735232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245489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348013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71138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86179009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9334642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09581651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68953526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798260701"/>
      </p:ext>
    </p:extLst>
  </p:cSld>
  <p:clrMapOvr>
    <a:masterClrMapping/>
  </p:clrMapOvr>
  <p:transition>
    <p:fade/>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079186353"/>
      </p:ext>
    </p:extLst>
  </p:cSld>
  <p:clrMapOvr>
    <a:masterClrMapping/>
  </p:clrMapOvr>
  <p:transition>
    <p:fade/>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0142358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05834833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slideLayout" Target="../slideLayouts/slideLayout303.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42" Type="http://schemas.openxmlformats.org/officeDocument/2006/relationships/slideLayout" Target="../slideLayouts/slideLayout306.xml"/><Relationship Id="rId47" Type="http://schemas.openxmlformats.org/officeDocument/2006/relationships/slideLayout" Target="../slideLayouts/slideLayout311.xml"/><Relationship Id="rId50" Type="http://schemas.openxmlformats.org/officeDocument/2006/relationships/slideLayout" Target="../slideLayouts/slideLayout314.xml"/><Relationship Id="rId7" Type="http://schemas.openxmlformats.org/officeDocument/2006/relationships/slideLayout" Target="../slideLayouts/slideLayout271.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9" Type="http://schemas.openxmlformats.org/officeDocument/2006/relationships/slideLayout" Target="../slideLayouts/slideLayout293.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slideLayout" Target="../slideLayouts/slideLayout304.xml"/><Relationship Id="rId45" Type="http://schemas.openxmlformats.org/officeDocument/2006/relationships/slideLayout" Target="../slideLayouts/slideLayout309.xml"/><Relationship Id="rId53" Type="http://schemas.openxmlformats.org/officeDocument/2006/relationships/image" Target="../media/image18.emf"/><Relationship Id="rId5" Type="http://schemas.openxmlformats.org/officeDocument/2006/relationships/slideLayout" Target="../slideLayouts/slideLayout269.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4" Type="http://schemas.openxmlformats.org/officeDocument/2006/relationships/slideLayout" Target="../slideLayouts/slideLayout308.xml"/><Relationship Id="rId52" Type="http://schemas.openxmlformats.org/officeDocument/2006/relationships/theme" Target="../theme/theme10.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43" Type="http://schemas.openxmlformats.org/officeDocument/2006/relationships/slideLayout" Target="../slideLayouts/slideLayout307.xml"/><Relationship Id="rId48" Type="http://schemas.openxmlformats.org/officeDocument/2006/relationships/slideLayout" Target="../slideLayouts/slideLayout312.xml"/><Relationship Id="rId8" Type="http://schemas.openxmlformats.org/officeDocument/2006/relationships/slideLayout" Target="../slideLayouts/slideLayout272.xml"/><Relationship Id="rId51" Type="http://schemas.openxmlformats.org/officeDocument/2006/relationships/slideLayout" Target="../slideLayouts/slideLayout315.xml"/><Relationship Id="rId3" Type="http://schemas.openxmlformats.org/officeDocument/2006/relationships/slideLayout" Target="../slideLayouts/slideLayout267.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46" Type="http://schemas.openxmlformats.org/officeDocument/2006/relationships/slideLayout" Target="../slideLayouts/slideLayout310.xml"/><Relationship Id="rId20" Type="http://schemas.openxmlformats.org/officeDocument/2006/relationships/slideLayout" Target="../slideLayouts/slideLayout284.xml"/><Relationship Id="rId41" Type="http://schemas.openxmlformats.org/officeDocument/2006/relationships/slideLayout" Target="../slideLayouts/slideLayout305.xml"/><Relationship Id="rId54" Type="http://schemas.openxmlformats.org/officeDocument/2006/relationships/image" Target="../media/image38.png"/><Relationship Id="rId1" Type="http://schemas.openxmlformats.org/officeDocument/2006/relationships/slideLayout" Target="../slideLayouts/slideLayout265.xml"/><Relationship Id="rId6" Type="http://schemas.openxmlformats.org/officeDocument/2006/relationships/slideLayout" Target="../slideLayouts/slideLayout270.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49" Type="http://schemas.openxmlformats.org/officeDocument/2006/relationships/slideLayout" Target="../slideLayouts/slideLayout31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theme" Target="../theme/theme11.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29" Type="http://schemas.openxmlformats.org/officeDocument/2006/relationships/slideLayout" Target="../slideLayouts/slideLayout344.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8" Type="http://schemas.openxmlformats.org/officeDocument/2006/relationships/slideLayout" Target="../slideLayouts/slideLayout323.xml"/><Relationship Id="rId3" Type="http://schemas.openxmlformats.org/officeDocument/2006/relationships/slideLayout" Target="../slideLayouts/slideLayout31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26" Type="http://schemas.openxmlformats.org/officeDocument/2006/relationships/slideLayout" Target="../slideLayouts/slideLayout379.xml"/><Relationship Id="rId21" Type="http://schemas.openxmlformats.org/officeDocument/2006/relationships/slideLayout" Target="../slideLayouts/slideLayout374.xml"/><Relationship Id="rId34" Type="http://schemas.openxmlformats.org/officeDocument/2006/relationships/slideLayout" Target="../slideLayouts/slideLayout387.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5" Type="http://schemas.openxmlformats.org/officeDocument/2006/relationships/slideLayout" Target="../slideLayouts/slideLayout378.xml"/><Relationship Id="rId33" Type="http://schemas.openxmlformats.org/officeDocument/2006/relationships/slideLayout" Target="../slideLayouts/slideLayout386.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29" Type="http://schemas.openxmlformats.org/officeDocument/2006/relationships/slideLayout" Target="../slideLayouts/slideLayout382.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24" Type="http://schemas.openxmlformats.org/officeDocument/2006/relationships/slideLayout" Target="../slideLayouts/slideLayout377.xml"/><Relationship Id="rId32" Type="http://schemas.openxmlformats.org/officeDocument/2006/relationships/slideLayout" Target="../slideLayouts/slideLayout385.xml"/><Relationship Id="rId37" Type="http://schemas.openxmlformats.org/officeDocument/2006/relationships/image" Target="../media/image6.emf"/><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slideLayout" Target="../slideLayouts/slideLayout376.xml"/><Relationship Id="rId28" Type="http://schemas.openxmlformats.org/officeDocument/2006/relationships/slideLayout" Target="../slideLayouts/slideLayout381.xml"/><Relationship Id="rId36" Type="http://schemas.openxmlformats.org/officeDocument/2006/relationships/theme" Target="../theme/theme12.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31" Type="http://schemas.openxmlformats.org/officeDocument/2006/relationships/slideLayout" Target="../slideLayouts/slideLayout384.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slideLayout" Target="../slideLayouts/slideLayout375.xml"/><Relationship Id="rId27" Type="http://schemas.openxmlformats.org/officeDocument/2006/relationships/slideLayout" Target="../slideLayouts/slideLayout380.xml"/><Relationship Id="rId30" Type="http://schemas.openxmlformats.org/officeDocument/2006/relationships/slideLayout" Target="../slideLayouts/slideLayout383.xml"/><Relationship Id="rId35" Type="http://schemas.openxmlformats.org/officeDocument/2006/relationships/slideLayout" Target="../slideLayouts/slideLayout388.xml"/><Relationship Id="rId8" Type="http://schemas.openxmlformats.org/officeDocument/2006/relationships/slideLayout" Target="../slideLayouts/slideLayout361.xml"/><Relationship Id="rId3" Type="http://schemas.openxmlformats.org/officeDocument/2006/relationships/slideLayout" Target="../slideLayouts/slideLayout3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3" Type="http://schemas.openxmlformats.org/officeDocument/2006/relationships/slideLayout" Target="../slideLayouts/slideLayout391.xml"/><Relationship Id="rId21" Type="http://schemas.openxmlformats.org/officeDocument/2006/relationships/theme" Target="../theme/theme13.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0" Type="http://schemas.openxmlformats.org/officeDocument/2006/relationships/slideLayout" Target="../slideLayouts/slideLayout408.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image" Target="../media/image57.png"/><Relationship Id="rId10" Type="http://schemas.openxmlformats.org/officeDocument/2006/relationships/slideLayout" Target="../slideLayouts/slideLayout398.xml"/><Relationship Id="rId19" Type="http://schemas.openxmlformats.org/officeDocument/2006/relationships/slideLayout" Target="../slideLayouts/slideLayout407.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image" Target="../media/image18.emf"/></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26" Type="http://schemas.openxmlformats.org/officeDocument/2006/relationships/slideLayout" Target="../slideLayouts/slideLayout434.xml"/><Relationship Id="rId39" Type="http://schemas.openxmlformats.org/officeDocument/2006/relationships/slideLayout" Target="../slideLayouts/slideLayout447.xml"/><Relationship Id="rId21" Type="http://schemas.openxmlformats.org/officeDocument/2006/relationships/slideLayout" Target="../slideLayouts/slideLayout429.xml"/><Relationship Id="rId34" Type="http://schemas.openxmlformats.org/officeDocument/2006/relationships/slideLayout" Target="../slideLayouts/slideLayout442.xml"/><Relationship Id="rId42" Type="http://schemas.openxmlformats.org/officeDocument/2006/relationships/image" Target="../media/image6.emf"/><Relationship Id="rId7" Type="http://schemas.openxmlformats.org/officeDocument/2006/relationships/slideLayout" Target="../slideLayouts/slideLayout415.xml"/><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0" Type="http://schemas.openxmlformats.org/officeDocument/2006/relationships/slideLayout" Target="../slideLayouts/slideLayout428.xml"/><Relationship Id="rId29" Type="http://schemas.openxmlformats.org/officeDocument/2006/relationships/slideLayout" Target="../slideLayouts/slideLayout437.xml"/><Relationship Id="rId41" Type="http://schemas.openxmlformats.org/officeDocument/2006/relationships/theme" Target="../theme/theme14.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24" Type="http://schemas.openxmlformats.org/officeDocument/2006/relationships/slideLayout" Target="../slideLayouts/slideLayout432.xml"/><Relationship Id="rId32" Type="http://schemas.openxmlformats.org/officeDocument/2006/relationships/slideLayout" Target="../slideLayouts/slideLayout440.xml"/><Relationship Id="rId37" Type="http://schemas.openxmlformats.org/officeDocument/2006/relationships/slideLayout" Target="../slideLayouts/slideLayout445.xml"/><Relationship Id="rId40" Type="http://schemas.openxmlformats.org/officeDocument/2006/relationships/slideLayout" Target="../slideLayouts/slideLayout448.xml"/><Relationship Id="rId5" Type="http://schemas.openxmlformats.org/officeDocument/2006/relationships/slideLayout" Target="../slideLayouts/slideLayout413.xml"/><Relationship Id="rId15" Type="http://schemas.openxmlformats.org/officeDocument/2006/relationships/slideLayout" Target="../slideLayouts/slideLayout423.xml"/><Relationship Id="rId23" Type="http://schemas.openxmlformats.org/officeDocument/2006/relationships/slideLayout" Target="../slideLayouts/slideLayout431.xml"/><Relationship Id="rId28" Type="http://schemas.openxmlformats.org/officeDocument/2006/relationships/slideLayout" Target="../slideLayouts/slideLayout436.xml"/><Relationship Id="rId36" Type="http://schemas.openxmlformats.org/officeDocument/2006/relationships/slideLayout" Target="../slideLayouts/slideLayout444.xml"/><Relationship Id="rId10" Type="http://schemas.openxmlformats.org/officeDocument/2006/relationships/slideLayout" Target="../slideLayouts/slideLayout418.xml"/><Relationship Id="rId19" Type="http://schemas.openxmlformats.org/officeDocument/2006/relationships/slideLayout" Target="../slideLayouts/slideLayout427.xml"/><Relationship Id="rId31" Type="http://schemas.openxmlformats.org/officeDocument/2006/relationships/slideLayout" Target="../slideLayouts/slideLayout439.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slideLayout" Target="../slideLayouts/slideLayout422.xml"/><Relationship Id="rId22" Type="http://schemas.openxmlformats.org/officeDocument/2006/relationships/slideLayout" Target="../slideLayouts/slideLayout430.xml"/><Relationship Id="rId27" Type="http://schemas.openxmlformats.org/officeDocument/2006/relationships/slideLayout" Target="../slideLayouts/slideLayout435.xml"/><Relationship Id="rId30" Type="http://schemas.openxmlformats.org/officeDocument/2006/relationships/slideLayout" Target="../slideLayouts/slideLayout438.xml"/><Relationship Id="rId35" Type="http://schemas.openxmlformats.org/officeDocument/2006/relationships/slideLayout" Target="../slideLayouts/slideLayout443.xml"/><Relationship Id="rId8" Type="http://schemas.openxmlformats.org/officeDocument/2006/relationships/slideLayout" Target="../slideLayouts/slideLayout416.xml"/><Relationship Id="rId3" Type="http://schemas.openxmlformats.org/officeDocument/2006/relationships/slideLayout" Target="../slideLayouts/slideLayout411.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5" Type="http://schemas.openxmlformats.org/officeDocument/2006/relationships/slideLayout" Target="../slideLayouts/slideLayout433.xml"/><Relationship Id="rId33" Type="http://schemas.openxmlformats.org/officeDocument/2006/relationships/slideLayout" Target="../slideLayouts/slideLayout441.xml"/><Relationship Id="rId38" Type="http://schemas.openxmlformats.org/officeDocument/2006/relationships/slideLayout" Target="../slideLayouts/slideLayout44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56.xml"/><Relationship Id="rId13" Type="http://schemas.openxmlformats.org/officeDocument/2006/relationships/slideLayout" Target="../slideLayouts/slideLayout461.xml"/><Relationship Id="rId18" Type="http://schemas.openxmlformats.org/officeDocument/2006/relationships/slideLayout" Target="../slideLayouts/slideLayout466.xml"/><Relationship Id="rId3" Type="http://schemas.openxmlformats.org/officeDocument/2006/relationships/slideLayout" Target="../slideLayouts/slideLayout451.xml"/><Relationship Id="rId21" Type="http://schemas.openxmlformats.org/officeDocument/2006/relationships/slideLayout" Target="../slideLayouts/slideLayout469.xml"/><Relationship Id="rId7" Type="http://schemas.openxmlformats.org/officeDocument/2006/relationships/slideLayout" Target="../slideLayouts/slideLayout455.xml"/><Relationship Id="rId12" Type="http://schemas.openxmlformats.org/officeDocument/2006/relationships/slideLayout" Target="../slideLayouts/slideLayout460.xml"/><Relationship Id="rId17" Type="http://schemas.openxmlformats.org/officeDocument/2006/relationships/slideLayout" Target="../slideLayouts/slideLayout465.xml"/><Relationship Id="rId25" Type="http://schemas.openxmlformats.org/officeDocument/2006/relationships/image" Target="../media/image19.png"/><Relationship Id="rId2" Type="http://schemas.openxmlformats.org/officeDocument/2006/relationships/slideLayout" Target="../slideLayouts/slideLayout450.xml"/><Relationship Id="rId16" Type="http://schemas.openxmlformats.org/officeDocument/2006/relationships/slideLayout" Target="../slideLayouts/slideLayout464.xml"/><Relationship Id="rId20" Type="http://schemas.openxmlformats.org/officeDocument/2006/relationships/slideLayout" Target="../slideLayouts/slideLayout468.xml"/><Relationship Id="rId1" Type="http://schemas.openxmlformats.org/officeDocument/2006/relationships/slideLayout" Target="../slideLayouts/slideLayout449.xml"/><Relationship Id="rId6" Type="http://schemas.openxmlformats.org/officeDocument/2006/relationships/slideLayout" Target="../slideLayouts/slideLayout454.xml"/><Relationship Id="rId11" Type="http://schemas.openxmlformats.org/officeDocument/2006/relationships/slideLayout" Target="../slideLayouts/slideLayout459.xml"/><Relationship Id="rId24" Type="http://schemas.openxmlformats.org/officeDocument/2006/relationships/image" Target="../media/image18.emf"/><Relationship Id="rId5" Type="http://schemas.openxmlformats.org/officeDocument/2006/relationships/slideLayout" Target="../slideLayouts/slideLayout453.xml"/><Relationship Id="rId15" Type="http://schemas.openxmlformats.org/officeDocument/2006/relationships/slideLayout" Target="../slideLayouts/slideLayout463.xml"/><Relationship Id="rId23" Type="http://schemas.openxmlformats.org/officeDocument/2006/relationships/theme" Target="../theme/theme15.xml"/><Relationship Id="rId10" Type="http://schemas.openxmlformats.org/officeDocument/2006/relationships/slideLayout" Target="../slideLayouts/slideLayout458.xml"/><Relationship Id="rId19" Type="http://schemas.openxmlformats.org/officeDocument/2006/relationships/slideLayout" Target="../slideLayouts/slideLayout467.xml"/><Relationship Id="rId4" Type="http://schemas.openxmlformats.org/officeDocument/2006/relationships/slideLayout" Target="../slideLayouts/slideLayout452.xml"/><Relationship Id="rId9" Type="http://schemas.openxmlformats.org/officeDocument/2006/relationships/slideLayout" Target="../slideLayouts/slideLayout457.xml"/><Relationship Id="rId14" Type="http://schemas.openxmlformats.org/officeDocument/2006/relationships/slideLayout" Target="../slideLayouts/slideLayout462.xml"/><Relationship Id="rId22" Type="http://schemas.openxmlformats.org/officeDocument/2006/relationships/slideLayout" Target="../slideLayouts/slideLayout4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8.xml"/><Relationship Id="rId13" Type="http://schemas.openxmlformats.org/officeDocument/2006/relationships/slideLayout" Target="../slideLayouts/slideLayout483.xml"/><Relationship Id="rId18" Type="http://schemas.openxmlformats.org/officeDocument/2006/relationships/slideLayout" Target="../slideLayouts/slideLayout488.xml"/><Relationship Id="rId3" Type="http://schemas.openxmlformats.org/officeDocument/2006/relationships/slideLayout" Target="../slideLayouts/slideLayout473.xml"/><Relationship Id="rId21" Type="http://schemas.openxmlformats.org/officeDocument/2006/relationships/slideLayout" Target="../slideLayouts/slideLayout491.xml"/><Relationship Id="rId7" Type="http://schemas.openxmlformats.org/officeDocument/2006/relationships/slideLayout" Target="../slideLayouts/slideLayout477.xml"/><Relationship Id="rId12" Type="http://schemas.openxmlformats.org/officeDocument/2006/relationships/slideLayout" Target="../slideLayouts/slideLayout482.xml"/><Relationship Id="rId17" Type="http://schemas.openxmlformats.org/officeDocument/2006/relationships/slideLayout" Target="../slideLayouts/slideLayout487.xml"/><Relationship Id="rId25" Type="http://schemas.openxmlformats.org/officeDocument/2006/relationships/image" Target="../media/image57.png"/><Relationship Id="rId2" Type="http://schemas.openxmlformats.org/officeDocument/2006/relationships/slideLayout" Target="../slideLayouts/slideLayout472.xml"/><Relationship Id="rId16" Type="http://schemas.openxmlformats.org/officeDocument/2006/relationships/slideLayout" Target="../slideLayouts/slideLayout486.xml"/><Relationship Id="rId20" Type="http://schemas.openxmlformats.org/officeDocument/2006/relationships/slideLayout" Target="../slideLayouts/slideLayout490.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slideLayout" Target="../slideLayouts/slideLayout481.xml"/><Relationship Id="rId24" Type="http://schemas.openxmlformats.org/officeDocument/2006/relationships/image" Target="../media/image18.emf"/><Relationship Id="rId5" Type="http://schemas.openxmlformats.org/officeDocument/2006/relationships/slideLayout" Target="../slideLayouts/slideLayout475.xml"/><Relationship Id="rId15" Type="http://schemas.openxmlformats.org/officeDocument/2006/relationships/slideLayout" Target="../slideLayouts/slideLayout485.xml"/><Relationship Id="rId23" Type="http://schemas.openxmlformats.org/officeDocument/2006/relationships/theme" Target="../theme/theme16.xml"/><Relationship Id="rId10" Type="http://schemas.openxmlformats.org/officeDocument/2006/relationships/slideLayout" Target="../slideLayouts/slideLayout480.xml"/><Relationship Id="rId19" Type="http://schemas.openxmlformats.org/officeDocument/2006/relationships/slideLayout" Target="../slideLayouts/slideLayout489.xml"/><Relationship Id="rId4" Type="http://schemas.openxmlformats.org/officeDocument/2006/relationships/slideLayout" Target="../slideLayouts/slideLayout474.xml"/><Relationship Id="rId9" Type="http://schemas.openxmlformats.org/officeDocument/2006/relationships/slideLayout" Target="../slideLayouts/slideLayout479.xml"/><Relationship Id="rId14" Type="http://schemas.openxmlformats.org/officeDocument/2006/relationships/slideLayout" Target="../slideLayouts/slideLayout484.xml"/><Relationship Id="rId22" Type="http://schemas.openxmlformats.org/officeDocument/2006/relationships/slideLayout" Target="../slideLayouts/slideLayout492.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 Type="http://schemas.openxmlformats.org/officeDocument/2006/relationships/slideLayout" Target="../slideLayouts/slideLayout495.xml"/><Relationship Id="rId21" Type="http://schemas.openxmlformats.org/officeDocument/2006/relationships/slideLayout" Target="../slideLayouts/slideLayout513.xml"/><Relationship Id="rId34" Type="http://schemas.openxmlformats.org/officeDocument/2006/relationships/image" Target="../media/image57.png"/><Relationship Id="rId7" Type="http://schemas.openxmlformats.org/officeDocument/2006/relationships/slideLayout" Target="../slideLayouts/slideLayout499.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image" Target="../media/image18.emf"/><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0" Type="http://schemas.openxmlformats.org/officeDocument/2006/relationships/slideLayout" Target="../slideLayouts/slideLayout512.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theme" Target="../theme/theme1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8" Type="http://schemas.openxmlformats.org/officeDocument/2006/relationships/slideLayout" Target="../slideLayouts/slideLayout500.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549.xml"/><Relationship Id="rId21" Type="http://schemas.openxmlformats.org/officeDocument/2006/relationships/slideLayout" Target="../slideLayouts/slideLayout544.xml"/><Relationship Id="rId42" Type="http://schemas.openxmlformats.org/officeDocument/2006/relationships/slideLayout" Target="../slideLayouts/slideLayout565.xml"/><Relationship Id="rId47" Type="http://schemas.openxmlformats.org/officeDocument/2006/relationships/slideLayout" Target="../slideLayouts/slideLayout570.xml"/><Relationship Id="rId63" Type="http://schemas.openxmlformats.org/officeDocument/2006/relationships/slideLayout" Target="../slideLayouts/slideLayout586.xml"/><Relationship Id="rId68" Type="http://schemas.openxmlformats.org/officeDocument/2006/relationships/slideLayout" Target="../slideLayouts/slideLayout591.xml"/><Relationship Id="rId7" Type="http://schemas.openxmlformats.org/officeDocument/2006/relationships/slideLayout" Target="../slideLayouts/slideLayout530.xml"/><Relationship Id="rId71" Type="http://schemas.openxmlformats.org/officeDocument/2006/relationships/image" Target="../media/image6.emf"/><Relationship Id="rId2" Type="http://schemas.openxmlformats.org/officeDocument/2006/relationships/slideLayout" Target="../slideLayouts/slideLayout525.xml"/><Relationship Id="rId16" Type="http://schemas.openxmlformats.org/officeDocument/2006/relationships/slideLayout" Target="../slideLayouts/slideLayout539.xml"/><Relationship Id="rId29" Type="http://schemas.openxmlformats.org/officeDocument/2006/relationships/slideLayout" Target="../slideLayouts/slideLayout552.xml"/><Relationship Id="rId11" Type="http://schemas.openxmlformats.org/officeDocument/2006/relationships/slideLayout" Target="../slideLayouts/slideLayout534.xml"/><Relationship Id="rId24" Type="http://schemas.openxmlformats.org/officeDocument/2006/relationships/slideLayout" Target="../slideLayouts/slideLayout547.xml"/><Relationship Id="rId32" Type="http://schemas.openxmlformats.org/officeDocument/2006/relationships/slideLayout" Target="../slideLayouts/slideLayout555.xml"/><Relationship Id="rId37" Type="http://schemas.openxmlformats.org/officeDocument/2006/relationships/slideLayout" Target="../slideLayouts/slideLayout560.xml"/><Relationship Id="rId40" Type="http://schemas.openxmlformats.org/officeDocument/2006/relationships/slideLayout" Target="../slideLayouts/slideLayout563.xml"/><Relationship Id="rId45" Type="http://schemas.openxmlformats.org/officeDocument/2006/relationships/slideLayout" Target="../slideLayouts/slideLayout568.xml"/><Relationship Id="rId53" Type="http://schemas.openxmlformats.org/officeDocument/2006/relationships/slideLayout" Target="../slideLayouts/slideLayout576.xml"/><Relationship Id="rId58" Type="http://schemas.openxmlformats.org/officeDocument/2006/relationships/slideLayout" Target="../slideLayouts/slideLayout581.xml"/><Relationship Id="rId66" Type="http://schemas.openxmlformats.org/officeDocument/2006/relationships/slideLayout" Target="../slideLayouts/slideLayout589.xml"/><Relationship Id="rId5" Type="http://schemas.openxmlformats.org/officeDocument/2006/relationships/slideLayout" Target="../slideLayouts/slideLayout528.xml"/><Relationship Id="rId61" Type="http://schemas.openxmlformats.org/officeDocument/2006/relationships/slideLayout" Target="../slideLayouts/slideLayout584.xml"/><Relationship Id="rId19" Type="http://schemas.openxmlformats.org/officeDocument/2006/relationships/slideLayout" Target="../slideLayouts/slideLayout542.xml"/><Relationship Id="rId14" Type="http://schemas.openxmlformats.org/officeDocument/2006/relationships/slideLayout" Target="../slideLayouts/slideLayout537.xml"/><Relationship Id="rId22" Type="http://schemas.openxmlformats.org/officeDocument/2006/relationships/slideLayout" Target="../slideLayouts/slideLayout545.xml"/><Relationship Id="rId27" Type="http://schemas.openxmlformats.org/officeDocument/2006/relationships/slideLayout" Target="../slideLayouts/slideLayout550.xml"/><Relationship Id="rId30" Type="http://schemas.openxmlformats.org/officeDocument/2006/relationships/slideLayout" Target="../slideLayouts/slideLayout553.xml"/><Relationship Id="rId35" Type="http://schemas.openxmlformats.org/officeDocument/2006/relationships/slideLayout" Target="../slideLayouts/slideLayout558.xml"/><Relationship Id="rId43" Type="http://schemas.openxmlformats.org/officeDocument/2006/relationships/slideLayout" Target="../slideLayouts/slideLayout566.xml"/><Relationship Id="rId48" Type="http://schemas.openxmlformats.org/officeDocument/2006/relationships/slideLayout" Target="../slideLayouts/slideLayout571.xml"/><Relationship Id="rId56" Type="http://schemas.openxmlformats.org/officeDocument/2006/relationships/slideLayout" Target="../slideLayouts/slideLayout579.xml"/><Relationship Id="rId64" Type="http://schemas.openxmlformats.org/officeDocument/2006/relationships/slideLayout" Target="../slideLayouts/slideLayout587.xml"/><Relationship Id="rId69" Type="http://schemas.openxmlformats.org/officeDocument/2006/relationships/slideLayout" Target="../slideLayouts/slideLayout592.xml"/><Relationship Id="rId8" Type="http://schemas.openxmlformats.org/officeDocument/2006/relationships/slideLayout" Target="../slideLayouts/slideLayout531.xml"/><Relationship Id="rId51" Type="http://schemas.openxmlformats.org/officeDocument/2006/relationships/slideLayout" Target="../slideLayouts/slideLayout574.xml"/><Relationship Id="rId3" Type="http://schemas.openxmlformats.org/officeDocument/2006/relationships/slideLayout" Target="../slideLayouts/slideLayout526.xml"/><Relationship Id="rId12" Type="http://schemas.openxmlformats.org/officeDocument/2006/relationships/slideLayout" Target="../slideLayouts/slideLayout535.xml"/><Relationship Id="rId17" Type="http://schemas.openxmlformats.org/officeDocument/2006/relationships/slideLayout" Target="../slideLayouts/slideLayout540.xml"/><Relationship Id="rId25" Type="http://schemas.openxmlformats.org/officeDocument/2006/relationships/slideLayout" Target="../slideLayouts/slideLayout548.xml"/><Relationship Id="rId33" Type="http://schemas.openxmlformats.org/officeDocument/2006/relationships/slideLayout" Target="../slideLayouts/slideLayout556.xml"/><Relationship Id="rId38" Type="http://schemas.openxmlformats.org/officeDocument/2006/relationships/slideLayout" Target="../slideLayouts/slideLayout561.xml"/><Relationship Id="rId46" Type="http://schemas.openxmlformats.org/officeDocument/2006/relationships/slideLayout" Target="../slideLayouts/slideLayout569.xml"/><Relationship Id="rId59" Type="http://schemas.openxmlformats.org/officeDocument/2006/relationships/slideLayout" Target="../slideLayouts/slideLayout582.xml"/><Relationship Id="rId67" Type="http://schemas.openxmlformats.org/officeDocument/2006/relationships/slideLayout" Target="../slideLayouts/slideLayout590.xml"/><Relationship Id="rId20" Type="http://schemas.openxmlformats.org/officeDocument/2006/relationships/slideLayout" Target="../slideLayouts/slideLayout543.xml"/><Relationship Id="rId41" Type="http://schemas.openxmlformats.org/officeDocument/2006/relationships/slideLayout" Target="../slideLayouts/slideLayout564.xml"/><Relationship Id="rId54" Type="http://schemas.openxmlformats.org/officeDocument/2006/relationships/slideLayout" Target="../slideLayouts/slideLayout577.xml"/><Relationship Id="rId62" Type="http://schemas.openxmlformats.org/officeDocument/2006/relationships/slideLayout" Target="../slideLayouts/slideLayout585.xml"/><Relationship Id="rId70" Type="http://schemas.openxmlformats.org/officeDocument/2006/relationships/theme" Target="../theme/theme18.xml"/><Relationship Id="rId1" Type="http://schemas.openxmlformats.org/officeDocument/2006/relationships/slideLayout" Target="../slideLayouts/slideLayout524.xml"/><Relationship Id="rId6" Type="http://schemas.openxmlformats.org/officeDocument/2006/relationships/slideLayout" Target="../slideLayouts/slideLayout529.xml"/><Relationship Id="rId15" Type="http://schemas.openxmlformats.org/officeDocument/2006/relationships/slideLayout" Target="../slideLayouts/slideLayout538.xml"/><Relationship Id="rId23" Type="http://schemas.openxmlformats.org/officeDocument/2006/relationships/slideLayout" Target="../slideLayouts/slideLayout546.xml"/><Relationship Id="rId28" Type="http://schemas.openxmlformats.org/officeDocument/2006/relationships/slideLayout" Target="../slideLayouts/slideLayout551.xml"/><Relationship Id="rId36" Type="http://schemas.openxmlformats.org/officeDocument/2006/relationships/slideLayout" Target="../slideLayouts/slideLayout559.xml"/><Relationship Id="rId49" Type="http://schemas.openxmlformats.org/officeDocument/2006/relationships/slideLayout" Target="../slideLayouts/slideLayout572.xml"/><Relationship Id="rId57" Type="http://schemas.openxmlformats.org/officeDocument/2006/relationships/slideLayout" Target="../slideLayouts/slideLayout580.xml"/><Relationship Id="rId10" Type="http://schemas.openxmlformats.org/officeDocument/2006/relationships/slideLayout" Target="../slideLayouts/slideLayout533.xml"/><Relationship Id="rId31" Type="http://schemas.openxmlformats.org/officeDocument/2006/relationships/slideLayout" Target="../slideLayouts/slideLayout554.xml"/><Relationship Id="rId44" Type="http://schemas.openxmlformats.org/officeDocument/2006/relationships/slideLayout" Target="../slideLayouts/slideLayout567.xml"/><Relationship Id="rId52" Type="http://schemas.openxmlformats.org/officeDocument/2006/relationships/slideLayout" Target="../slideLayouts/slideLayout575.xml"/><Relationship Id="rId60" Type="http://schemas.openxmlformats.org/officeDocument/2006/relationships/slideLayout" Target="../slideLayouts/slideLayout583.xml"/><Relationship Id="rId65" Type="http://schemas.openxmlformats.org/officeDocument/2006/relationships/slideLayout" Target="../slideLayouts/slideLayout588.xml"/><Relationship Id="rId4" Type="http://schemas.openxmlformats.org/officeDocument/2006/relationships/slideLayout" Target="../slideLayouts/slideLayout527.xml"/><Relationship Id="rId9" Type="http://schemas.openxmlformats.org/officeDocument/2006/relationships/slideLayout" Target="../slideLayouts/slideLayout532.xml"/><Relationship Id="rId13" Type="http://schemas.openxmlformats.org/officeDocument/2006/relationships/slideLayout" Target="../slideLayouts/slideLayout536.xml"/><Relationship Id="rId18" Type="http://schemas.openxmlformats.org/officeDocument/2006/relationships/slideLayout" Target="../slideLayouts/slideLayout541.xml"/><Relationship Id="rId39" Type="http://schemas.openxmlformats.org/officeDocument/2006/relationships/slideLayout" Target="../slideLayouts/slideLayout562.xml"/><Relationship Id="rId34" Type="http://schemas.openxmlformats.org/officeDocument/2006/relationships/slideLayout" Target="../slideLayouts/slideLayout557.xml"/><Relationship Id="rId50" Type="http://schemas.openxmlformats.org/officeDocument/2006/relationships/slideLayout" Target="../slideLayouts/slideLayout573.xml"/><Relationship Id="rId55" Type="http://schemas.openxmlformats.org/officeDocument/2006/relationships/slideLayout" Target="../slideLayouts/slideLayout57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05.xml"/><Relationship Id="rId18" Type="http://schemas.openxmlformats.org/officeDocument/2006/relationships/slideLayout" Target="../slideLayouts/slideLayout610.xml"/><Relationship Id="rId26" Type="http://schemas.openxmlformats.org/officeDocument/2006/relationships/slideLayout" Target="../slideLayouts/slideLayout618.xml"/><Relationship Id="rId39" Type="http://schemas.openxmlformats.org/officeDocument/2006/relationships/slideLayout" Target="../slideLayouts/slideLayout631.xml"/><Relationship Id="rId21" Type="http://schemas.openxmlformats.org/officeDocument/2006/relationships/slideLayout" Target="../slideLayouts/slideLayout613.xml"/><Relationship Id="rId34" Type="http://schemas.openxmlformats.org/officeDocument/2006/relationships/slideLayout" Target="../slideLayouts/slideLayout626.xml"/><Relationship Id="rId42" Type="http://schemas.openxmlformats.org/officeDocument/2006/relationships/slideLayout" Target="../slideLayouts/slideLayout634.xml"/><Relationship Id="rId7" Type="http://schemas.openxmlformats.org/officeDocument/2006/relationships/slideLayout" Target="../slideLayouts/slideLayout599.xml"/><Relationship Id="rId2" Type="http://schemas.openxmlformats.org/officeDocument/2006/relationships/slideLayout" Target="../slideLayouts/slideLayout594.xml"/><Relationship Id="rId16" Type="http://schemas.openxmlformats.org/officeDocument/2006/relationships/slideLayout" Target="../slideLayouts/slideLayout608.xml"/><Relationship Id="rId20" Type="http://schemas.openxmlformats.org/officeDocument/2006/relationships/slideLayout" Target="../slideLayouts/slideLayout612.xml"/><Relationship Id="rId29" Type="http://schemas.openxmlformats.org/officeDocument/2006/relationships/slideLayout" Target="../slideLayouts/slideLayout621.xml"/><Relationship Id="rId41" Type="http://schemas.openxmlformats.org/officeDocument/2006/relationships/slideLayout" Target="../slideLayouts/slideLayout633.xml"/><Relationship Id="rId1" Type="http://schemas.openxmlformats.org/officeDocument/2006/relationships/slideLayout" Target="../slideLayouts/slideLayout593.xml"/><Relationship Id="rId6" Type="http://schemas.openxmlformats.org/officeDocument/2006/relationships/slideLayout" Target="../slideLayouts/slideLayout598.xml"/><Relationship Id="rId11" Type="http://schemas.openxmlformats.org/officeDocument/2006/relationships/slideLayout" Target="../slideLayouts/slideLayout603.xml"/><Relationship Id="rId24" Type="http://schemas.openxmlformats.org/officeDocument/2006/relationships/slideLayout" Target="../slideLayouts/slideLayout616.xml"/><Relationship Id="rId32" Type="http://schemas.openxmlformats.org/officeDocument/2006/relationships/slideLayout" Target="../slideLayouts/slideLayout624.xml"/><Relationship Id="rId37" Type="http://schemas.openxmlformats.org/officeDocument/2006/relationships/slideLayout" Target="../slideLayouts/slideLayout629.xml"/><Relationship Id="rId40" Type="http://schemas.openxmlformats.org/officeDocument/2006/relationships/slideLayout" Target="../slideLayouts/slideLayout632.xml"/><Relationship Id="rId5" Type="http://schemas.openxmlformats.org/officeDocument/2006/relationships/slideLayout" Target="../slideLayouts/slideLayout597.xml"/><Relationship Id="rId15" Type="http://schemas.openxmlformats.org/officeDocument/2006/relationships/slideLayout" Target="../slideLayouts/slideLayout607.xml"/><Relationship Id="rId23" Type="http://schemas.openxmlformats.org/officeDocument/2006/relationships/slideLayout" Target="../slideLayouts/slideLayout615.xml"/><Relationship Id="rId28" Type="http://schemas.openxmlformats.org/officeDocument/2006/relationships/slideLayout" Target="../slideLayouts/slideLayout620.xml"/><Relationship Id="rId36" Type="http://schemas.openxmlformats.org/officeDocument/2006/relationships/slideLayout" Target="../slideLayouts/slideLayout628.xml"/><Relationship Id="rId10" Type="http://schemas.openxmlformats.org/officeDocument/2006/relationships/slideLayout" Target="../slideLayouts/slideLayout602.xml"/><Relationship Id="rId19" Type="http://schemas.openxmlformats.org/officeDocument/2006/relationships/slideLayout" Target="../slideLayouts/slideLayout611.xml"/><Relationship Id="rId31" Type="http://schemas.openxmlformats.org/officeDocument/2006/relationships/slideLayout" Target="../slideLayouts/slideLayout623.xml"/><Relationship Id="rId44" Type="http://schemas.openxmlformats.org/officeDocument/2006/relationships/image" Target="../media/image6.emf"/><Relationship Id="rId4" Type="http://schemas.openxmlformats.org/officeDocument/2006/relationships/slideLayout" Target="../slideLayouts/slideLayout596.xml"/><Relationship Id="rId9" Type="http://schemas.openxmlformats.org/officeDocument/2006/relationships/slideLayout" Target="../slideLayouts/slideLayout601.xml"/><Relationship Id="rId14" Type="http://schemas.openxmlformats.org/officeDocument/2006/relationships/slideLayout" Target="../slideLayouts/slideLayout606.xml"/><Relationship Id="rId22" Type="http://schemas.openxmlformats.org/officeDocument/2006/relationships/slideLayout" Target="../slideLayouts/slideLayout614.xml"/><Relationship Id="rId27" Type="http://schemas.openxmlformats.org/officeDocument/2006/relationships/slideLayout" Target="../slideLayouts/slideLayout619.xml"/><Relationship Id="rId30" Type="http://schemas.openxmlformats.org/officeDocument/2006/relationships/slideLayout" Target="../slideLayouts/slideLayout622.xml"/><Relationship Id="rId35" Type="http://schemas.openxmlformats.org/officeDocument/2006/relationships/slideLayout" Target="../slideLayouts/slideLayout627.xml"/><Relationship Id="rId43" Type="http://schemas.openxmlformats.org/officeDocument/2006/relationships/theme" Target="../theme/theme19.xml"/><Relationship Id="rId8" Type="http://schemas.openxmlformats.org/officeDocument/2006/relationships/slideLayout" Target="../slideLayouts/slideLayout600.xml"/><Relationship Id="rId3" Type="http://schemas.openxmlformats.org/officeDocument/2006/relationships/slideLayout" Target="../slideLayouts/slideLayout595.xml"/><Relationship Id="rId12" Type="http://schemas.openxmlformats.org/officeDocument/2006/relationships/slideLayout" Target="../slideLayouts/slideLayout604.xml"/><Relationship Id="rId17" Type="http://schemas.openxmlformats.org/officeDocument/2006/relationships/slideLayout" Target="../slideLayouts/slideLayout609.xml"/><Relationship Id="rId25" Type="http://schemas.openxmlformats.org/officeDocument/2006/relationships/slideLayout" Target="../slideLayouts/slideLayout617.xml"/><Relationship Id="rId33" Type="http://schemas.openxmlformats.org/officeDocument/2006/relationships/slideLayout" Target="../slideLayouts/slideLayout625.xml"/><Relationship Id="rId38" Type="http://schemas.openxmlformats.org/officeDocument/2006/relationships/slideLayout" Target="../slideLayouts/slideLayout6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image" Target="../media/image6.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theme" Target="../theme/theme2.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26" Type="http://schemas.openxmlformats.org/officeDocument/2006/relationships/slideLayout" Target="../slideLayouts/slideLayout660.xml"/><Relationship Id="rId39" Type="http://schemas.openxmlformats.org/officeDocument/2006/relationships/slideLayout" Target="../slideLayouts/slideLayout673.xml"/><Relationship Id="rId21" Type="http://schemas.openxmlformats.org/officeDocument/2006/relationships/slideLayout" Target="../slideLayouts/slideLayout655.xml"/><Relationship Id="rId34" Type="http://schemas.openxmlformats.org/officeDocument/2006/relationships/slideLayout" Target="../slideLayouts/slideLayout668.xml"/><Relationship Id="rId42" Type="http://schemas.openxmlformats.org/officeDocument/2006/relationships/slideLayout" Target="../slideLayouts/slideLayout676.xml"/><Relationship Id="rId7" Type="http://schemas.openxmlformats.org/officeDocument/2006/relationships/slideLayout" Target="../slideLayouts/slideLayout64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29" Type="http://schemas.openxmlformats.org/officeDocument/2006/relationships/slideLayout" Target="../slideLayouts/slideLayout663.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24" Type="http://schemas.openxmlformats.org/officeDocument/2006/relationships/slideLayout" Target="../slideLayouts/slideLayout658.xml"/><Relationship Id="rId32" Type="http://schemas.openxmlformats.org/officeDocument/2006/relationships/slideLayout" Target="../slideLayouts/slideLayout666.xml"/><Relationship Id="rId37" Type="http://schemas.openxmlformats.org/officeDocument/2006/relationships/slideLayout" Target="../slideLayouts/slideLayout671.xml"/><Relationship Id="rId40" Type="http://schemas.openxmlformats.org/officeDocument/2006/relationships/slideLayout" Target="../slideLayouts/slideLayout674.xml"/><Relationship Id="rId45" Type="http://schemas.openxmlformats.org/officeDocument/2006/relationships/theme" Target="../theme/theme20.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23" Type="http://schemas.openxmlformats.org/officeDocument/2006/relationships/slideLayout" Target="../slideLayouts/slideLayout657.xml"/><Relationship Id="rId28" Type="http://schemas.openxmlformats.org/officeDocument/2006/relationships/slideLayout" Target="../slideLayouts/slideLayout662.xml"/><Relationship Id="rId36" Type="http://schemas.openxmlformats.org/officeDocument/2006/relationships/slideLayout" Target="../slideLayouts/slideLayout670.xml"/><Relationship Id="rId10" Type="http://schemas.openxmlformats.org/officeDocument/2006/relationships/slideLayout" Target="../slideLayouts/slideLayout644.xml"/><Relationship Id="rId19" Type="http://schemas.openxmlformats.org/officeDocument/2006/relationships/slideLayout" Target="../slideLayouts/slideLayout653.xml"/><Relationship Id="rId31" Type="http://schemas.openxmlformats.org/officeDocument/2006/relationships/slideLayout" Target="../slideLayouts/slideLayout665.xml"/><Relationship Id="rId44" Type="http://schemas.openxmlformats.org/officeDocument/2006/relationships/slideLayout" Target="../slideLayouts/slideLayout678.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 Id="rId22" Type="http://schemas.openxmlformats.org/officeDocument/2006/relationships/slideLayout" Target="../slideLayouts/slideLayout656.xml"/><Relationship Id="rId27" Type="http://schemas.openxmlformats.org/officeDocument/2006/relationships/slideLayout" Target="../slideLayouts/slideLayout661.xml"/><Relationship Id="rId30" Type="http://schemas.openxmlformats.org/officeDocument/2006/relationships/slideLayout" Target="../slideLayouts/slideLayout664.xml"/><Relationship Id="rId35" Type="http://schemas.openxmlformats.org/officeDocument/2006/relationships/slideLayout" Target="../slideLayouts/slideLayout669.xml"/><Relationship Id="rId43" Type="http://schemas.openxmlformats.org/officeDocument/2006/relationships/slideLayout" Target="../slideLayouts/slideLayout677.xml"/><Relationship Id="rId8" Type="http://schemas.openxmlformats.org/officeDocument/2006/relationships/slideLayout" Target="../slideLayouts/slideLayout642.xml"/><Relationship Id="rId3" Type="http://schemas.openxmlformats.org/officeDocument/2006/relationships/slideLayout" Target="../slideLayouts/slideLayout637.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5" Type="http://schemas.openxmlformats.org/officeDocument/2006/relationships/slideLayout" Target="../slideLayouts/slideLayout659.xml"/><Relationship Id="rId33" Type="http://schemas.openxmlformats.org/officeDocument/2006/relationships/slideLayout" Target="../slideLayouts/slideLayout667.xml"/><Relationship Id="rId38" Type="http://schemas.openxmlformats.org/officeDocument/2006/relationships/slideLayout" Target="../slideLayouts/slideLayout672.xml"/><Relationship Id="rId46" Type="http://schemas.openxmlformats.org/officeDocument/2006/relationships/image" Target="../media/image6.emf"/><Relationship Id="rId20" Type="http://schemas.openxmlformats.org/officeDocument/2006/relationships/slideLayout" Target="../slideLayouts/slideLayout654.xml"/><Relationship Id="rId41" Type="http://schemas.openxmlformats.org/officeDocument/2006/relationships/slideLayout" Target="../slideLayouts/slideLayout675.xml"/></Relationships>
</file>

<file path=ppt/slideMasters/_rels/slideMaster21.xml.rels><?xml version="1.0" encoding="UTF-8" standalone="yes"?>
<Relationships xmlns="http://schemas.openxmlformats.org/package/2006/relationships"><Relationship Id="rId26" Type="http://schemas.openxmlformats.org/officeDocument/2006/relationships/slideLayout" Target="../slideLayouts/slideLayout704.xml"/><Relationship Id="rId21" Type="http://schemas.openxmlformats.org/officeDocument/2006/relationships/slideLayout" Target="../slideLayouts/slideLayout699.xml"/><Relationship Id="rId42" Type="http://schemas.openxmlformats.org/officeDocument/2006/relationships/slideLayout" Target="../slideLayouts/slideLayout720.xml"/><Relationship Id="rId47" Type="http://schemas.openxmlformats.org/officeDocument/2006/relationships/slideLayout" Target="../slideLayouts/slideLayout725.xml"/><Relationship Id="rId63" Type="http://schemas.openxmlformats.org/officeDocument/2006/relationships/slideLayout" Target="../slideLayouts/slideLayout741.xml"/><Relationship Id="rId68" Type="http://schemas.openxmlformats.org/officeDocument/2006/relationships/slideLayout" Target="../slideLayouts/slideLayout746.xml"/><Relationship Id="rId2" Type="http://schemas.openxmlformats.org/officeDocument/2006/relationships/slideLayout" Target="../slideLayouts/slideLayout680.xml"/><Relationship Id="rId16" Type="http://schemas.openxmlformats.org/officeDocument/2006/relationships/slideLayout" Target="../slideLayouts/slideLayout694.xml"/><Relationship Id="rId29" Type="http://schemas.openxmlformats.org/officeDocument/2006/relationships/slideLayout" Target="../slideLayouts/slideLayout707.xml"/><Relationship Id="rId11" Type="http://schemas.openxmlformats.org/officeDocument/2006/relationships/slideLayout" Target="../slideLayouts/slideLayout689.xml"/><Relationship Id="rId24" Type="http://schemas.openxmlformats.org/officeDocument/2006/relationships/slideLayout" Target="../slideLayouts/slideLayout702.xml"/><Relationship Id="rId32" Type="http://schemas.openxmlformats.org/officeDocument/2006/relationships/slideLayout" Target="../slideLayouts/slideLayout710.xml"/><Relationship Id="rId37" Type="http://schemas.openxmlformats.org/officeDocument/2006/relationships/slideLayout" Target="../slideLayouts/slideLayout715.xml"/><Relationship Id="rId40" Type="http://schemas.openxmlformats.org/officeDocument/2006/relationships/slideLayout" Target="../slideLayouts/slideLayout718.xml"/><Relationship Id="rId45" Type="http://schemas.openxmlformats.org/officeDocument/2006/relationships/slideLayout" Target="../slideLayouts/slideLayout723.xml"/><Relationship Id="rId53" Type="http://schemas.openxmlformats.org/officeDocument/2006/relationships/slideLayout" Target="../slideLayouts/slideLayout731.xml"/><Relationship Id="rId58" Type="http://schemas.openxmlformats.org/officeDocument/2006/relationships/slideLayout" Target="../slideLayouts/slideLayout736.xml"/><Relationship Id="rId66" Type="http://schemas.openxmlformats.org/officeDocument/2006/relationships/slideLayout" Target="../slideLayouts/slideLayout744.xml"/><Relationship Id="rId74" Type="http://schemas.openxmlformats.org/officeDocument/2006/relationships/image" Target="../media/image6.emf"/><Relationship Id="rId5" Type="http://schemas.openxmlformats.org/officeDocument/2006/relationships/slideLayout" Target="../slideLayouts/slideLayout683.xml"/><Relationship Id="rId61" Type="http://schemas.openxmlformats.org/officeDocument/2006/relationships/slideLayout" Target="../slideLayouts/slideLayout739.xml"/><Relationship Id="rId19" Type="http://schemas.openxmlformats.org/officeDocument/2006/relationships/slideLayout" Target="../slideLayouts/slideLayout697.xml"/><Relationship Id="rId14" Type="http://schemas.openxmlformats.org/officeDocument/2006/relationships/slideLayout" Target="../slideLayouts/slideLayout692.xml"/><Relationship Id="rId22" Type="http://schemas.openxmlformats.org/officeDocument/2006/relationships/slideLayout" Target="../slideLayouts/slideLayout700.xml"/><Relationship Id="rId27" Type="http://schemas.openxmlformats.org/officeDocument/2006/relationships/slideLayout" Target="../slideLayouts/slideLayout705.xml"/><Relationship Id="rId30" Type="http://schemas.openxmlformats.org/officeDocument/2006/relationships/slideLayout" Target="../slideLayouts/slideLayout708.xml"/><Relationship Id="rId35" Type="http://schemas.openxmlformats.org/officeDocument/2006/relationships/slideLayout" Target="../slideLayouts/slideLayout713.xml"/><Relationship Id="rId43" Type="http://schemas.openxmlformats.org/officeDocument/2006/relationships/slideLayout" Target="../slideLayouts/slideLayout721.xml"/><Relationship Id="rId48" Type="http://schemas.openxmlformats.org/officeDocument/2006/relationships/slideLayout" Target="../slideLayouts/slideLayout726.xml"/><Relationship Id="rId56" Type="http://schemas.openxmlformats.org/officeDocument/2006/relationships/slideLayout" Target="../slideLayouts/slideLayout734.xml"/><Relationship Id="rId64" Type="http://schemas.openxmlformats.org/officeDocument/2006/relationships/slideLayout" Target="../slideLayouts/slideLayout742.xml"/><Relationship Id="rId69" Type="http://schemas.openxmlformats.org/officeDocument/2006/relationships/slideLayout" Target="../slideLayouts/slideLayout747.xml"/><Relationship Id="rId8" Type="http://schemas.openxmlformats.org/officeDocument/2006/relationships/slideLayout" Target="../slideLayouts/slideLayout686.xml"/><Relationship Id="rId51" Type="http://schemas.openxmlformats.org/officeDocument/2006/relationships/slideLayout" Target="../slideLayouts/slideLayout729.xml"/><Relationship Id="rId72" Type="http://schemas.openxmlformats.org/officeDocument/2006/relationships/slideLayout" Target="../slideLayouts/slideLayout750.xml"/><Relationship Id="rId3" Type="http://schemas.openxmlformats.org/officeDocument/2006/relationships/slideLayout" Target="../slideLayouts/slideLayout681.xml"/><Relationship Id="rId12" Type="http://schemas.openxmlformats.org/officeDocument/2006/relationships/slideLayout" Target="../slideLayouts/slideLayout690.xml"/><Relationship Id="rId17" Type="http://schemas.openxmlformats.org/officeDocument/2006/relationships/slideLayout" Target="../slideLayouts/slideLayout695.xml"/><Relationship Id="rId25" Type="http://schemas.openxmlformats.org/officeDocument/2006/relationships/slideLayout" Target="../slideLayouts/slideLayout703.xml"/><Relationship Id="rId33" Type="http://schemas.openxmlformats.org/officeDocument/2006/relationships/slideLayout" Target="../slideLayouts/slideLayout711.xml"/><Relationship Id="rId38" Type="http://schemas.openxmlformats.org/officeDocument/2006/relationships/slideLayout" Target="../slideLayouts/slideLayout716.xml"/><Relationship Id="rId46" Type="http://schemas.openxmlformats.org/officeDocument/2006/relationships/slideLayout" Target="../slideLayouts/slideLayout724.xml"/><Relationship Id="rId59" Type="http://schemas.openxmlformats.org/officeDocument/2006/relationships/slideLayout" Target="../slideLayouts/slideLayout737.xml"/><Relationship Id="rId67" Type="http://schemas.openxmlformats.org/officeDocument/2006/relationships/slideLayout" Target="../slideLayouts/slideLayout745.xml"/><Relationship Id="rId20" Type="http://schemas.openxmlformats.org/officeDocument/2006/relationships/slideLayout" Target="../slideLayouts/slideLayout698.xml"/><Relationship Id="rId41" Type="http://schemas.openxmlformats.org/officeDocument/2006/relationships/slideLayout" Target="../slideLayouts/slideLayout719.xml"/><Relationship Id="rId54" Type="http://schemas.openxmlformats.org/officeDocument/2006/relationships/slideLayout" Target="../slideLayouts/slideLayout732.xml"/><Relationship Id="rId62" Type="http://schemas.openxmlformats.org/officeDocument/2006/relationships/slideLayout" Target="../slideLayouts/slideLayout740.xml"/><Relationship Id="rId70" Type="http://schemas.openxmlformats.org/officeDocument/2006/relationships/slideLayout" Target="../slideLayouts/slideLayout748.xml"/><Relationship Id="rId1" Type="http://schemas.openxmlformats.org/officeDocument/2006/relationships/slideLayout" Target="../slideLayouts/slideLayout679.xml"/><Relationship Id="rId6" Type="http://schemas.openxmlformats.org/officeDocument/2006/relationships/slideLayout" Target="../slideLayouts/slideLayout684.xml"/><Relationship Id="rId15" Type="http://schemas.openxmlformats.org/officeDocument/2006/relationships/slideLayout" Target="../slideLayouts/slideLayout693.xml"/><Relationship Id="rId23" Type="http://schemas.openxmlformats.org/officeDocument/2006/relationships/slideLayout" Target="../slideLayouts/slideLayout701.xml"/><Relationship Id="rId28" Type="http://schemas.openxmlformats.org/officeDocument/2006/relationships/slideLayout" Target="../slideLayouts/slideLayout706.xml"/><Relationship Id="rId36" Type="http://schemas.openxmlformats.org/officeDocument/2006/relationships/slideLayout" Target="../slideLayouts/slideLayout714.xml"/><Relationship Id="rId49" Type="http://schemas.openxmlformats.org/officeDocument/2006/relationships/slideLayout" Target="../slideLayouts/slideLayout727.xml"/><Relationship Id="rId57" Type="http://schemas.openxmlformats.org/officeDocument/2006/relationships/slideLayout" Target="../slideLayouts/slideLayout735.xml"/><Relationship Id="rId10" Type="http://schemas.openxmlformats.org/officeDocument/2006/relationships/slideLayout" Target="../slideLayouts/slideLayout688.xml"/><Relationship Id="rId31" Type="http://schemas.openxmlformats.org/officeDocument/2006/relationships/slideLayout" Target="../slideLayouts/slideLayout709.xml"/><Relationship Id="rId44" Type="http://schemas.openxmlformats.org/officeDocument/2006/relationships/slideLayout" Target="../slideLayouts/slideLayout722.xml"/><Relationship Id="rId52" Type="http://schemas.openxmlformats.org/officeDocument/2006/relationships/slideLayout" Target="../slideLayouts/slideLayout730.xml"/><Relationship Id="rId60" Type="http://schemas.openxmlformats.org/officeDocument/2006/relationships/slideLayout" Target="../slideLayouts/slideLayout738.xml"/><Relationship Id="rId65" Type="http://schemas.openxmlformats.org/officeDocument/2006/relationships/slideLayout" Target="../slideLayouts/slideLayout743.xml"/><Relationship Id="rId73" Type="http://schemas.openxmlformats.org/officeDocument/2006/relationships/theme" Target="../theme/theme21.xml"/><Relationship Id="rId4" Type="http://schemas.openxmlformats.org/officeDocument/2006/relationships/slideLayout" Target="../slideLayouts/slideLayout682.xml"/><Relationship Id="rId9" Type="http://schemas.openxmlformats.org/officeDocument/2006/relationships/slideLayout" Target="../slideLayouts/slideLayout687.xml"/><Relationship Id="rId13" Type="http://schemas.openxmlformats.org/officeDocument/2006/relationships/slideLayout" Target="../slideLayouts/slideLayout691.xml"/><Relationship Id="rId18" Type="http://schemas.openxmlformats.org/officeDocument/2006/relationships/slideLayout" Target="../slideLayouts/slideLayout696.xml"/><Relationship Id="rId39" Type="http://schemas.openxmlformats.org/officeDocument/2006/relationships/slideLayout" Target="../slideLayouts/slideLayout717.xml"/><Relationship Id="rId34" Type="http://schemas.openxmlformats.org/officeDocument/2006/relationships/slideLayout" Target="../slideLayouts/slideLayout712.xml"/><Relationship Id="rId50" Type="http://schemas.openxmlformats.org/officeDocument/2006/relationships/slideLayout" Target="../slideLayouts/slideLayout728.xml"/><Relationship Id="rId55" Type="http://schemas.openxmlformats.org/officeDocument/2006/relationships/slideLayout" Target="../slideLayouts/slideLayout733.xml"/><Relationship Id="rId7" Type="http://schemas.openxmlformats.org/officeDocument/2006/relationships/slideLayout" Target="../slideLayouts/slideLayout685.xml"/><Relationship Id="rId71" Type="http://schemas.openxmlformats.org/officeDocument/2006/relationships/slideLayout" Target="../slideLayouts/slideLayout74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758.xml"/><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26" Type="http://schemas.openxmlformats.org/officeDocument/2006/relationships/theme" Target="../theme/theme22.xml"/><Relationship Id="rId3" Type="http://schemas.openxmlformats.org/officeDocument/2006/relationships/slideLayout" Target="../slideLayouts/slideLayout753.xml"/><Relationship Id="rId21" Type="http://schemas.openxmlformats.org/officeDocument/2006/relationships/slideLayout" Target="../slideLayouts/slideLayout771.xml"/><Relationship Id="rId7" Type="http://schemas.openxmlformats.org/officeDocument/2006/relationships/slideLayout" Target="../slideLayouts/slideLayout757.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5" Type="http://schemas.openxmlformats.org/officeDocument/2006/relationships/slideLayout" Target="../slideLayouts/slideLayout775.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20" Type="http://schemas.openxmlformats.org/officeDocument/2006/relationships/slideLayout" Target="../slideLayouts/slideLayout770.xml"/><Relationship Id="rId29" Type="http://schemas.openxmlformats.org/officeDocument/2006/relationships/image" Target="../media/image111.emf"/><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24" Type="http://schemas.openxmlformats.org/officeDocument/2006/relationships/slideLayout" Target="../slideLayouts/slideLayout774.xml"/><Relationship Id="rId5" Type="http://schemas.openxmlformats.org/officeDocument/2006/relationships/slideLayout" Target="../slideLayouts/slideLayout755.xml"/><Relationship Id="rId15" Type="http://schemas.openxmlformats.org/officeDocument/2006/relationships/slideLayout" Target="../slideLayouts/slideLayout765.xml"/><Relationship Id="rId23" Type="http://schemas.openxmlformats.org/officeDocument/2006/relationships/slideLayout" Target="../slideLayouts/slideLayout773.xml"/><Relationship Id="rId28" Type="http://schemas.openxmlformats.org/officeDocument/2006/relationships/oleObject" Target="../embeddings/oleObject1.bin"/><Relationship Id="rId10" Type="http://schemas.openxmlformats.org/officeDocument/2006/relationships/slideLayout" Target="../slideLayouts/slideLayout760.xml"/><Relationship Id="rId19" Type="http://schemas.openxmlformats.org/officeDocument/2006/relationships/slideLayout" Target="../slideLayouts/slideLayout769.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 Id="rId22" Type="http://schemas.openxmlformats.org/officeDocument/2006/relationships/slideLayout" Target="../slideLayouts/slideLayout772.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3.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8.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theme" Target="../theme/theme5.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image" Target="../media/image6.emf"/><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theme" Target="../theme/theme6.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8" Type="http://schemas.openxmlformats.org/officeDocument/2006/relationships/slideLayout" Target="../slideLayouts/slideLayout141.xml"/><Relationship Id="rId3" Type="http://schemas.openxmlformats.org/officeDocument/2006/relationships/slideLayout" Target="../slideLayouts/slideLayout13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theme" Target="../theme/theme7.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image" Target="../media/image6.emf"/><Relationship Id="rId20" Type="http://schemas.openxmlformats.org/officeDocument/2006/relationships/slideLayout" Target="../slideLayouts/slideLayout188.xml"/><Relationship Id="rId41" Type="http://schemas.openxmlformats.org/officeDocument/2006/relationships/slideLayout" Target="../slideLayouts/slideLayout20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theme" Target="../theme/theme8.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8" Type="http://schemas.openxmlformats.org/officeDocument/2006/relationships/slideLayout" Target="../slideLayouts/slideLayout2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theme" Target="../theme/theme9.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19" Type="http://schemas.openxmlformats.org/officeDocument/2006/relationships/image" Target="../media/image6.emf"/><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3" cstate="screen">
            <a:extLst>
              <a:ext uri="{28A0092B-C50C-407E-A947-70E740481C1C}">
                <a14:useLocalDpi xmlns:a14="http://schemas.microsoft.com/office/drawing/2010/main" val="0"/>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4" cstate="screen">
            <a:extLst>
              <a:ext uri="{28A0092B-C50C-407E-A947-70E740481C1C}">
                <a14:useLocalDpi xmlns:a14="http://schemas.microsoft.com/office/drawing/2010/main" val="0"/>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229589809"/>
      </p:ext>
    </p:extLst>
  </p:cSld>
  <p:clrMap bg1="lt1" tx1="dk1" bg2="lt2" tx2="dk2" accent1="accent1" accent2="accent2" accent3="accent3" accent4="accent4" accent5="accent5" accent6="accent6" hlink="hlink" folHlink="folHlink"/>
  <p:sldLayoutIdLst>
    <p:sldLayoutId id="2147492838" r:id="rId1"/>
    <p:sldLayoutId id="2147492839" r:id="rId2"/>
    <p:sldLayoutId id="2147492840" r:id="rId3"/>
    <p:sldLayoutId id="2147492841" r:id="rId4"/>
    <p:sldLayoutId id="2147492842" r:id="rId5"/>
    <p:sldLayoutId id="2147492843" r:id="rId6"/>
    <p:sldLayoutId id="2147492844" r:id="rId7"/>
    <p:sldLayoutId id="2147492845" r:id="rId8"/>
    <p:sldLayoutId id="2147492846" r:id="rId9"/>
    <p:sldLayoutId id="2147492847" r:id="rId10"/>
    <p:sldLayoutId id="2147492848" r:id="rId11"/>
    <p:sldLayoutId id="2147492849" r:id="rId12"/>
    <p:sldLayoutId id="2147492850" r:id="rId13"/>
    <p:sldLayoutId id="2147492851" r:id="rId14"/>
    <p:sldLayoutId id="2147492852" r:id="rId15"/>
    <p:sldLayoutId id="2147492853" r:id="rId16"/>
    <p:sldLayoutId id="2147492854" r:id="rId17"/>
    <p:sldLayoutId id="2147492855" r:id="rId18"/>
    <p:sldLayoutId id="2147492856" r:id="rId19"/>
    <p:sldLayoutId id="2147492857" r:id="rId20"/>
    <p:sldLayoutId id="2147492858" r:id="rId21"/>
    <p:sldLayoutId id="2147492859" r:id="rId22"/>
    <p:sldLayoutId id="2147492860" r:id="rId23"/>
    <p:sldLayoutId id="2147492861" r:id="rId24"/>
    <p:sldLayoutId id="2147492862" r:id="rId25"/>
    <p:sldLayoutId id="2147492863" r:id="rId26"/>
    <p:sldLayoutId id="2147492864" r:id="rId27"/>
    <p:sldLayoutId id="2147492865" r:id="rId28"/>
    <p:sldLayoutId id="2147492866" r:id="rId29"/>
    <p:sldLayoutId id="2147492867" r:id="rId30"/>
    <p:sldLayoutId id="2147492868" r:id="rId31"/>
    <p:sldLayoutId id="2147492869" r:id="rId32"/>
    <p:sldLayoutId id="2147492870" r:id="rId33"/>
    <p:sldLayoutId id="2147492871" r:id="rId34"/>
    <p:sldLayoutId id="2147492872" r:id="rId35"/>
    <p:sldLayoutId id="2147492873" r:id="rId36"/>
    <p:sldLayoutId id="2147492874" r:id="rId37"/>
    <p:sldLayoutId id="2147492875" r:id="rId38"/>
    <p:sldLayoutId id="2147492876" r:id="rId39"/>
    <p:sldLayoutId id="2147492877" r:id="rId40"/>
    <p:sldLayoutId id="2147492878" r:id="rId41"/>
    <p:sldLayoutId id="2147492879" r:id="rId42"/>
    <p:sldLayoutId id="2147492880" r:id="rId43"/>
    <p:sldLayoutId id="2147492881" r:id="rId44"/>
    <p:sldLayoutId id="2147492882" r:id="rId45"/>
    <p:sldLayoutId id="2147492883" r:id="rId46"/>
    <p:sldLayoutId id="2147492884" r:id="rId47"/>
    <p:sldLayoutId id="2147492885" r:id="rId48"/>
    <p:sldLayoutId id="2147492886" r:id="rId49"/>
    <p:sldLayoutId id="2147492887" r:id="rId50"/>
    <p:sldLayoutId id="2147492888" r:id="rId51"/>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gradFill>
            <a:gsLst>
              <a:gs pos="0">
                <a:schemeClr val="tx1"/>
              </a:gs>
              <a:gs pos="100000">
                <a:schemeClr val="tx1"/>
              </a:gs>
            </a:gsLst>
            <a:lin ang="5400000" scaled="0"/>
          </a:gra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gradFill>
            <a:gsLst>
              <a:gs pos="0">
                <a:schemeClr val="tx1"/>
              </a:gs>
              <a:gs pos="100000">
                <a:schemeClr val="tx1"/>
              </a:gs>
            </a:gsLst>
            <a:lin ang="5400000" scaled="0"/>
          </a:gra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0"/>
          </a:gra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gradFill>
            <a:gsLst>
              <a:gs pos="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899227"/>
      </p:ext>
    </p:extLst>
  </p:cSld>
  <p:clrMap bg1="lt1" tx1="dk1" bg2="lt2" tx2="dk2" accent1="accent1" accent2="accent2" accent3="accent3" accent4="accent4" accent5="accent5" accent6="accent6" hlink="hlink" folHlink="folHlink"/>
  <p:sldLayoutIdLst>
    <p:sldLayoutId id="2147492906" r:id="rId1"/>
    <p:sldLayoutId id="2147492907" r:id="rId2"/>
    <p:sldLayoutId id="2147492908" r:id="rId3"/>
    <p:sldLayoutId id="2147492909" r:id="rId4"/>
    <p:sldLayoutId id="2147492910" r:id="rId5"/>
    <p:sldLayoutId id="2147492911" r:id="rId6"/>
    <p:sldLayoutId id="2147492912" r:id="rId7"/>
    <p:sldLayoutId id="2147492913" r:id="rId8"/>
    <p:sldLayoutId id="2147492914" r:id="rId9"/>
    <p:sldLayoutId id="2147492915" r:id="rId10"/>
    <p:sldLayoutId id="2147492916" r:id="rId11"/>
    <p:sldLayoutId id="2147492917" r:id="rId12"/>
    <p:sldLayoutId id="2147492918" r:id="rId13"/>
    <p:sldLayoutId id="2147492919" r:id="rId14"/>
    <p:sldLayoutId id="2147492920" r:id="rId15"/>
    <p:sldLayoutId id="2147492921" r:id="rId16"/>
    <p:sldLayoutId id="2147492922" r:id="rId17"/>
    <p:sldLayoutId id="2147492923" r:id="rId18"/>
    <p:sldLayoutId id="2147492924" r:id="rId19"/>
    <p:sldLayoutId id="2147492925" r:id="rId20"/>
    <p:sldLayoutId id="2147492926" r:id="rId21"/>
    <p:sldLayoutId id="2147492927" r:id="rId22"/>
    <p:sldLayoutId id="2147492928" r:id="rId23"/>
    <p:sldLayoutId id="2147492929" r:id="rId24"/>
    <p:sldLayoutId id="2147492930" r:id="rId25"/>
    <p:sldLayoutId id="2147492931" r:id="rId26"/>
    <p:sldLayoutId id="2147492932" r:id="rId27"/>
    <p:sldLayoutId id="2147492933" r:id="rId28"/>
    <p:sldLayoutId id="2147492934" r:id="rId29"/>
    <p:sldLayoutId id="2147492935" r:id="rId30"/>
    <p:sldLayoutId id="2147492936" r:id="rId31"/>
    <p:sldLayoutId id="2147492937" r:id="rId32"/>
    <p:sldLayoutId id="2147492938" r:id="rId33"/>
    <p:sldLayoutId id="2147492939" r:id="rId34"/>
    <p:sldLayoutId id="2147492940" r:id="rId35"/>
    <p:sldLayoutId id="2147492941" r:id="rId36"/>
    <p:sldLayoutId id="2147492942" r:id="rId37"/>
    <p:sldLayoutId id="2147493081"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29366345"/>
      </p:ext>
    </p:extLst>
  </p:cSld>
  <p:clrMap bg1="lt1" tx1="dk1" bg2="lt2" tx2="dk2" accent1="accent1" accent2="accent2" accent3="accent3" accent4="accent4" accent5="accent5" accent6="accent6" hlink="hlink" folHlink="folHlink"/>
  <p:sldLayoutIdLst>
    <p:sldLayoutId id="2147492946" r:id="rId1"/>
    <p:sldLayoutId id="2147492947" r:id="rId2"/>
    <p:sldLayoutId id="2147492948" r:id="rId3"/>
    <p:sldLayoutId id="2147492949" r:id="rId4"/>
    <p:sldLayoutId id="2147492950" r:id="rId5"/>
    <p:sldLayoutId id="2147492951" r:id="rId6"/>
    <p:sldLayoutId id="2147492952" r:id="rId7"/>
    <p:sldLayoutId id="2147492953" r:id="rId8"/>
    <p:sldLayoutId id="2147492954" r:id="rId9"/>
    <p:sldLayoutId id="2147492955" r:id="rId10"/>
    <p:sldLayoutId id="2147492956" r:id="rId11"/>
    <p:sldLayoutId id="2147492957" r:id="rId12"/>
    <p:sldLayoutId id="2147492958" r:id="rId13"/>
    <p:sldLayoutId id="2147492959" r:id="rId14"/>
    <p:sldLayoutId id="2147492960" r:id="rId15"/>
    <p:sldLayoutId id="2147492961" r:id="rId16"/>
    <p:sldLayoutId id="2147492962" r:id="rId17"/>
    <p:sldLayoutId id="2147492963" r:id="rId18"/>
    <p:sldLayoutId id="2147492964" r:id="rId19"/>
    <p:sldLayoutId id="2147492965" r:id="rId20"/>
    <p:sldLayoutId id="2147492966" r:id="rId21"/>
    <p:sldLayoutId id="2147492967" r:id="rId22"/>
    <p:sldLayoutId id="2147492968" r:id="rId23"/>
    <p:sldLayoutId id="2147492969" r:id="rId24"/>
    <p:sldLayoutId id="2147492970" r:id="rId25"/>
    <p:sldLayoutId id="2147492971" r:id="rId26"/>
    <p:sldLayoutId id="2147492972" r:id="rId27"/>
    <p:sldLayoutId id="2147492973" r:id="rId28"/>
    <p:sldLayoutId id="2147492974" r:id="rId29"/>
    <p:sldLayoutId id="2147492975" r:id="rId30"/>
    <p:sldLayoutId id="2147492976" r:id="rId31"/>
    <p:sldLayoutId id="2147492977" r:id="rId32"/>
    <p:sldLayoutId id="2147492978" r:id="rId33"/>
    <p:sldLayoutId id="2147492979" r:id="rId34"/>
    <p:sldLayoutId id="2147492980"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3251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
        <p:nvSpPr>
          <p:cNvPr id="3" name="Footer Placeholder 2">
            <a:extLst>
              <a:ext uri="{FF2B5EF4-FFF2-40B4-BE49-F238E27FC236}">
                <a16:creationId xmlns:a16="http://schemas.microsoft.com/office/drawing/2014/main" id="{28151D8F-7CBB-482E-B290-2A7D6FDA9F02}"/>
              </a:ext>
            </a:extLst>
          </p:cNvPr>
          <p:cNvSpPr>
            <a:spLocks noGrp="1"/>
          </p:cNvSpPr>
          <p:nvPr>
            <p:ph type="ftr" sz="quarter" idx="3"/>
          </p:nvPr>
        </p:nvSpPr>
        <p:spPr>
          <a:xfrm>
            <a:off x="4038582" y="6356803"/>
            <a:ext cx="4114839" cy="364224"/>
          </a:xfrm>
          <a:prstGeom prst="rect">
            <a:avLst/>
          </a:prstGeom>
        </p:spPr>
        <p:txBody>
          <a:bodyPr vert="horz" lIns="91440" tIns="45720" rIns="91440" bIns="45720" rtlCol="0" anchor="ctr"/>
          <a:lstStyle>
            <a:lvl1pPr algn="ctr">
              <a:defRPr sz="11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9F60BE-EBC2-44CD-8842-03B91EA9ED13}"/>
              </a:ext>
            </a:extLst>
          </p:cNvPr>
          <p:cNvSpPr>
            <a:spLocks noGrp="1"/>
          </p:cNvSpPr>
          <p:nvPr>
            <p:ph type="sldNum" sz="quarter" idx="4"/>
          </p:nvPr>
        </p:nvSpPr>
        <p:spPr>
          <a:xfrm>
            <a:off x="8610972" y="6356803"/>
            <a:ext cx="2742188" cy="364224"/>
          </a:xfrm>
          <a:prstGeom prst="rect">
            <a:avLst/>
          </a:prstGeom>
        </p:spPr>
        <p:txBody>
          <a:bodyPr vert="horz" lIns="91440" tIns="45720" rIns="91440" bIns="45720" rtlCol="0" anchor="ctr"/>
          <a:lstStyle>
            <a:lvl1pPr algn="r">
              <a:defRPr sz="1175">
                <a:solidFill>
                  <a:schemeClr val="tx1">
                    <a:tint val="75000"/>
                  </a:schemeClr>
                </a:solidFill>
              </a:defRPr>
            </a:lvl1pPr>
          </a:lstStyle>
          <a:p>
            <a:fld id="{C19D956D-00D7-4634-B263-E44A4E013149}" type="slidenum">
              <a:rPr lang="en-US" smtClean="0"/>
              <a:t>‹#›</a:t>
            </a:fld>
            <a:endParaRPr lang="en-US"/>
          </a:p>
        </p:txBody>
      </p:sp>
    </p:spTree>
    <p:extLst>
      <p:ext uri="{BB962C8B-B14F-4D97-AF65-F5344CB8AC3E}">
        <p14:creationId xmlns:p14="http://schemas.microsoft.com/office/powerpoint/2010/main" val="1002015124"/>
      </p:ext>
    </p:extLst>
  </p:cSld>
  <p:clrMap bg1="lt1" tx1="dk1" bg2="lt2" tx2="dk2" accent1="accent1" accent2="accent2" accent3="accent3" accent4="accent4" accent5="accent5" accent6="accent6" hlink="hlink" folHlink="folHlink"/>
  <p:sldLayoutIdLst>
    <p:sldLayoutId id="2147492982" r:id="rId1"/>
    <p:sldLayoutId id="2147492983" r:id="rId2"/>
    <p:sldLayoutId id="2147492984" r:id="rId3"/>
    <p:sldLayoutId id="2147492985" r:id="rId4"/>
    <p:sldLayoutId id="2147492986" r:id="rId5"/>
    <p:sldLayoutId id="2147492987" r:id="rId6"/>
    <p:sldLayoutId id="2147492988" r:id="rId7"/>
    <p:sldLayoutId id="2147492989" r:id="rId8"/>
    <p:sldLayoutId id="2147492990" r:id="rId9"/>
    <p:sldLayoutId id="2147492991" r:id="rId10"/>
    <p:sldLayoutId id="2147492992" r:id="rId11"/>
    <p:sldLayoutId id="2147492993" r:id="rId12"/>
    <p:sldLayoutId id="2147492994" r:id="rId13"/>
    <p:sldLayoutId id="2147492995" r:id="rId14"/>
    <p:sldLayoutId id="2147492996" r:id="rId15"/>
    <p:sldLayoutId id="2147492997" r:id="rId16"/>
    <p:sldLayoutId id="2147492998" r:id="rId17"/>
    <p:sldLayoutId id="2147492999" r:id="rId18"/>
    <p:sldLayoutId id="2147493000" r:id="rId19"/>
    <p:sldLayoutId id="2147493002" r:id="rId20"/>
  </p:sldLayoutIdLst>
  <p:transition>
    <p:fade/>
  </p:transition>
  <p:hf sldNum="0" hdr="0" ft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71235287"/>
      </p:ext>
    </p:extLst>
  </p:cSld>
  <p:clrMap bg1="lt1" tx1="dk1" bg2="lt2" tx2="dk2" accent1="accent1" accent2="accent2" accent3="accent3" accent4="accent4" accent5="accent5" accent6="accent6" hlink="hlink" folHlink="folHlink"/>
  <p:sldLayoutIdLst>
    <p:sldLayoutId id="2147493058" r:id="rId1"/>
    <p:sldLayoutId id="2147493059" r:id="rId2"/>
    <p:sldLayoutId id="2147493060" r:id="rId3"/>
    <p:sldLayoutId id="2147493061" r:id="rId4"/>
    <p:sldLayoutId id="2147493062" r:id="rId5"/>
    <p:sldLayoutId id="2147493063" r:id="rId6"/>
    <p:sldLayoutId id="2147493064" r:id="rId7"/>
    <p:sldLayoutId id="2147493065" r:id="rId8"/>
    <p:sldLayoutId id="2147493066" r:id="rId9"/>
    <p:sldLayoutId id="2147493067" r:id="rId10"/>
    <p:sldLayoutId id="2147493068" r:id="rId11"/>
    <p:sldLayoutId id="2147493069" r:id="rId12"/>
    <p:sldLayoutId id="2147493070" r:id="rId13"/>
    <p:sldLayoutId id="2147493071" r:id="rId14"/>
    <p:sldLayoutId id="2147493072" r:id="rId15"/>
    <p:sldLayoutId id="2147493073" r:id="rId16"/>
    <p:sldLayoutId id="2147493074" r:id="rId17"/>
    <p:sldLayoutId id="2147493075" r:id="rId18"/>
    <p:sldLayoutId id="2147493076" r:id="rId19"/>
    <p:sldLayoutId id="2147493077" r:id="rId20"/>
    <p:sldLayoutId id="2147493078" r:id="rId21"/>
    <p:sldLayoutId id="2147493079" r:id="rId22"/>
  </p:sldLayoutIdLst>
  <p:transition>
    <p:fade/>
  </p:transition>
  <p:hf sldNum="0"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3251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
        <p:nvSpPr>
          <p:cNvPr id="3" name="Footer Placeholder 2">
            <a:extLst>
              <a:ext uri="{FF2B5EF4-FFF2-40B4-BE49-F238E27FC236}">
                <a16:creationId xmlns:a16="http://schemas.microsoft.com/office/drawing/2014/main" id="{28151D8F-7CBB-482E-B290-2A7D6FDA9F02}"/>
              </a:ext>
            </a:extLst>
          </p:cNvPr>
          <p:cNvSpPr>
            <a:spLocks noGrp="1"/>
          </p:cNvSpPr>
          <p:nvPr>
            <p:ph type="ftr" sz="quarter" idx="3"/>
          </p:nvPr>
        </p:nvSpPr>
        <p:spPr>
          <a:xfrm>
            <a:off x="4038582" y="6356803"/>
            <a:ext cx="4114839" cy="364224"/>
          </a:xfrm>
          <a:prstGeom prst="rect">
            <a:avLst/>
          </a:prstGeom>
        </p:spPr>
        <p:txBody>
          <a:bodyPr vert="horz" lIns="91440" tIns="45720" rIns="91440" bIns="45720" rtlCol="0" anchor="ctr"/>
          <a:lstStyle>
            <a:lvl1pPr algn="ctr">
              <a:defRPr sz="11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9F60BE-EBC2-44CD-8842-03B91EA9ED13}"/>
              </a:ext>
            </a:extLst>
          </p:cNvPr>
          <p:cNvSpPr>
            <a:spLocks noGrp="1"/>
          </p:cNvSpPr>
          <p:nvPr>
            <p:ph type="sldNum" sz="quarter" idx="4"/>
          </p:nvPr>
        </p:nvSpPr>
        <p:spPr>
          <a:xfrm>
            <a:off x="8610972" y="6356803"/>
            <a:ext cx="2742188" cy="364224"/>
          </a:xfrm>
          <a:prstGeom prst="rect">
            <a:avLst/>
          </a:prstGeom>
        </p:spPr>
        <p:txBody>
          <a:bodyPr vert="horz" lIns="91440" tIns="45720" rIns="91440" bIns="45720" rtlCol="0" anchor="ctr"/>
          <a:lstStyle>
            <a:lvl1pPr algn="r">
              <a:defRPr sz="1175">
                <a:solidFill>
                  <a:schemeClr val="tx1">
                    <a:tint val="75000"/>
                  </a:schemeClr>
                </a:solidFill>
              </a:defRPr>
            </a:lvl1pPr>
          </a:lstStyle>
          <a:p>
            <a:fld id="{C19D956D-00D7-4634-B263-E44A4E013149}" type="slidenum">
              <a:rPr lang="en-US" smtClean="0"/>
              <a:t>‹#›</a:t>
            </a:fld>
            <a:endParaRPr lang="en-US"/>
          </a:p>
        </p:txBody>
      </p:sp>
    </p:spTree>
    <p:extLst>
      <p:ext uri="{BB962C8B-B14F-4D97-AF65-F5344CB8AC3E}">
        <p14:creationId xmlns:p14="http://schemas.microsoft.com/office/powerpoint/2010/main" val="4015993960"/>
      </p:ext>
    </p:extLst>
  </p:cSld>
  <p:clrMap bg1="lt1" tx1="dk1" bg2="lt2" tx2="dk2" accent1="accent1" accent2="accent2" accent3="accent3" accent4="accent4" accent5="accent5" accent6="accent6" hlink="hlink" folHlink="folHlink"/>
  <p:sldLayoutIdLst>
    <p:sldLayoutId id="2147493085" r:id="rId1"/>
    <p:sldLayoutId id="2147493086" r:id="rId2"/>
    <p:sldLayoutId id="2147493087" r:id="rId3"/>
    <p:sldLayoutId id="2147493088" r:id="rId4"/>
    <p:sldLayoutId id="2147493089" r:id="rId5"/>
    <p:sldLayoutId id="2147493090" r:id="rId6"/>
    <p:sldLayoutId id="2147493091" r:id="rId7"/>
    <p:sldLayoutId id="2147493092" r:id="rId8"/>
    <p:sldLayoutId id="2147493093" r:id="rId9"/>
    <p:sldLayoutId id="2147493094" r:id="rId10"/>
    <p:sldLayoutId id="2147493095" r:id="rId11"/>
    <p:sldLayoutId id="2147493096" r:id="rId12"/>
    <p:sldLayoutId id="2147493097" r:id="rId13"/>
    <p:sldLayoutId id="2147493098" r:id="rId14"/>
    <p:sldLayoutId id="2147493099" r:id="rId15"/>
    <p:sldLayoutId id="2147493100" r:id="rId16"/>
    <p:sldLayoutId id="2147493101" r:id="rId17"/>
    <p:sldLayoutId id="2147493102" r:id="rId18"/>
    <p:sldLayoutId id="2147493103" r:id="rId19"/>
    <p:sldLayoutId id="2147493104" r:id="rId20"/>
    <p:sldLayoutId id="2147493105" r:id="rId21"/>
    <p:sldLayoutId id="2147493106" r:id="rId22"/>
  </p:sldLayoutIdLst>
  <p:transition>
    <p:fade/>
  </p:transition>
  <p:hf sldNum="0" hdr="0" ft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5" y="435827"/>
            <a:ext cx="11336038"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8"/>
            <a:ext cx="11336038"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rot="5400000">
            <a:off x="9688816" y="3012079"/>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9039879" y="3221594"/>
            <a:ext cx="6858000" cy="414812"/>
          </a:xfrm>
          <a:prstGeom prst="rect">
            <a:avLst/>
          </a:prstGeom>
        </p:spPr>
      </p:pic>
    </p:spTree>
    <p:extLst>
      <p:ext uri="{BB962C8B-B14F-4D97-AF65-F5344CB8AC3E}">
        <p14:creationId xmlns:p14="http://schemas.microsoft.com/office/powerpoint/2010/main" val="2316314891"/>
      </p:ext>
    </p:extLst>
  </p:cSld>
  <p:clrMap bg1="lt1" tx1="dk1" bg2="lt2" tx2="dk2" accent1="accent1" accent2="accent2" accent3="accent3" accent4="accent4" accent5="accent5" accent6="accent6" hlink="hlink" folHlink="folHlink"/>
  <p:sldLayoutIdLst>
    <p:sldLayoutId id="2147493109" r:id="rId1"/>
    <p:sldLayoutId id="2147493110" r:id="rId2"/>
    <p:sldLayoutId id="2147493111" r:id="rId3"/>
    <p:sldLayoutId id="2147493112" r:id="rId4"/>
    <p:sldLayoutId id="2147493113" r:id="rId5"/>
    <p:sldLayoutId id="2147493114" r:id="rId6"/>
    <p:sldLayoutId id="2147493115" r:id="rId7"/>
    <p:sldLayoutId id="2147493116" r:id="rId8"/>
    <p:sldLayoutId id="2147493117" r:id="rId9"/>
    <p:sldLayoutId id="2147493118" r:id="rId10"/>
    <p:sldLayoutId id="2147493119" r:id="rId11"/>
    <p:sldLayoutId id="2147493120" r:id="rId12"/>
    <p:sldLayoutId id="2147493121" r:id="rId13"/>
    <p:sldLayoutId id="2147493122" r:id="rId14"/>
    <p:sldLayoutId id="2147493123" r:id="rId15"/>
    <p:sldLayoutId id="2147493124" r:id="rId16"/>
    <p:sldLayoutId id="2147493125" r:id="rId17"/>
    <p:sldLayoutId id="2147493126" r:id="rId18"/>
    <p:sldLayoutId id="2147493128" r:id="rId19"/>
    <p:sldLayoutId id="2147493129" r:id="rId20"/>
    <p:sldLayoutId id="2147493130" r:id="rId21"/>
    <p:sldLayoutId id="2147493131" r:id="rId22"/>
    <p:sldLayoutId id="2147493132" r:id="rId23"/>
    <p:sldLayoutId id="2147493133" r:id="rId24"/>
    <p:sldLayoutId id="2147493134" r:id="rId25"/>
    <p:sldLayoutId id="2147493135" r:id="rId26"/>
    <p:sldLayoutId id="2147493136" r:id="rId27"/>
    <p:sldLayoutId id="2147493138" r:id="rId28"/>
    <p:sldLayoutId id="2147493139" r:id="rId29"/>
    <p:sldLayoutId id="2147493140" r:id="rId30"/>
    <p:sldLayoutId id="2147493145" r:id="rId31"/>
  </p:sldLayoutIdLst>
  <p:transition>
    <p:fade/>
  </p:transition>
  <p:txStyles>
    <p:titleStyle>
      <a:lvl1pPr algn="l" defTabSz="914554" rtl="0" eaLnBrk="1" latinLnBrk="0" hangingPunct="1">
        <a:lnSpc>
          <a:spcPct val="90000"/>
        </a:lnSpc>
        <a:spcBef>
          <a:spcPct val="0"/>
        </a:spcBef>
        <a:buNone/>
        <a:defRPr lang="en-US" sz="3138"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142"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285"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3pPr>
      <a:lvl4pPr marL="672427"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4pPr>
      <a:lvl5pPr marL="896569"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7">
          <p15:clr>
            <a:srgbClr val="C35EA4"/>
          </p15:clr>
        </p15:guide>
        <p15:guide id="9" pos="5077">
          <p15:clr>
            <a:srgbClr val="C35EA4"/>
          </p15:clr>
        </p15:guide>
        <p15:guide id="10" pos="5220">
          <p15:clr>
            <a:srgbClr val="C35EA4"/>
          </p15:clr>
        </p15:guide>
        <p15:guide id="11" pos="6315">
          <p15:clr>
            <a:srgbClr val="C35EA4"/>
          </p15:clr>
        </p15:guide>
        <p15:guide id="12" pos="6458">
          <p15:clr>
            <a:srgbClr val="C35EA4"/>
          </p15:clr>
        </p15:guide>
        <p15:guide id="16" pos="274">
          <p15:clr>
            <a:srgbClr val="F26B43"/>
          </p15:clr>
        </p15:guide>
        <p15:guide id="17" pos="755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25779390"/>
      </p:ext>
    </p:extLst>
  </p:cSld>
  <p:clrMap bg1="lt1" tx1="dk1" bg2="lt2" tx2="dk2" accent1="accent1" accent2="accent2" accent3="accent3" accent4="accent4" accent5="accent5" accent6="accent6" hlink="hlink" folHlink="folHlink"/>
  <p:sldLayoutIdLst>
    <p:sldLayoutId id="2147493147" r:id="rId1"/>
    <p:sldLayoutId id="2147493148" r:id="rId2"/>
    <p:sldLayoutId id="2147493149" r:id="rId3"/>
    <p:sldLayoutId id="2147493150" r:id="rId4"/>
    <p:sldLayoutId id="2147493151" r:id="rId5"/>
    <p:sldLayoutId id="2147493152" r:id="rId6"/>
    <p:sldLayoutId id="2147493153" r:id="rId7"/>
    <p:sldLayoutId id="2147493154" r:id="rId8"/>
    <p:sldLayoutId id="2147493155" r:id="rId9"/>
    <p:sldLayoutId id="2147493156" r:id="rId10"/>
    <p:sldLayoutId id="2147493157" r:id="rId11"/>
    <p:sldLayoutId id="2147493158" r:id="rId12"/>
    <p:sldLayoutId id="2147493159" r:id="rId13"/>
    <p:sldLayoutId id="2147493160" r:id="rId14"/>
    <p:sldLayoutId id="2147493161" r:id="rId15"/>
    <p:sldLayoutId id="2147493162" r:id="rId16"/>
    <p:sldLayoutId id="2147493163" r:id="rId17"/>
    <p:sldLayoutId id="2147493164" r:id="rId18"/>
    <p:sldLayoutId id="2147493165" r:id="rId19"/>
    <p:sldLayoutId id="2147493166" r:id="rId20"/>
    <p:sldLayoutId id="2147493167" r:id="rId21"/>
    <p:sldLayoutId id="2147493168" r:id="rId22"/>
    <p:sldLayoutId id="2147493169" r:id="rId23"/>
    <p:sldLayoutId id="2147493170" r:id="rId24"/>
    <p:sldLayoutId id="2147493171" r:id="rId25"/>
    <p:sldLayoutId id="2147493172" r:id="rId26"/>
    <p:sldLayoutId id="2147493173" r:id="rId27"/>
    <p:sldLayoutId id="2147493174" r:id="rId28"/>
    <p:sldLayoutId id="2147493175" r:id="rId29"/>
    <p:sldLayoutId id="2147493176" r:id="rId30"/>
    <p:sldLayoutId id="2147493177" r:id="rId31"/>
    <p:sldLayoutId id="2147493178" r:id="rId32"/>
    <p:sldLayoutId id="2147493179" r:id="rId33"/>
    <p:sldLayoutId id="2147493180" r:id="rId34"/>
    <p:sldLayoutId id="2147493181" r:id="rId35"/>
    <p:sldLayoutId id="2147493182" r:id="rId36"/>
    <p:sldLayoutId id="2147493183" r:id="rId37"/>
    <p:sldLayoutId id="2147493184" r:id="rId38"/>
    <p:sldLayoutId id="2147493185" r:id="rId39"/>
    <p:sldLayoutId id="2147493186" r:id="rId40"/>
    <p:sldLayoutId id="2147493187" r:id="rId41"/>
    <p:sldLayoutId id="2147493188" r:id="rId42"/>
    <p:sldLayoutId id="2147493189" r:id="rId43"/>
    <p:sldLayoutId id="2147493190" r:id="rId44"/>
    <p:sldLayoutId id="2147493191" r:id="rId45"/>
    <p:sldLayoutId id="2147493192" r:id="rId46"/>
    <p:sldLayoutId id="2147493193" r:id="rId47"/>
    <p:sldLayoutId id="2147493194" r:id="rId48"/>
    <p:sldLayoutId id="2147493195" r:id="rId49"/>
    <p:sldLayoutId id="2147493196" r:id="rId50"/>
    <p:sldLayoutId id="2147493197" r:id="rId51"/>
    <p:sldLayoutId id="2147493198" r:id="rId52"/>
    <p:sldLayoutId id="2147493199" r:id="rId53"/>
    <p:sldLayoutId id="2147493200" r:id="rId54"/>
    <p:sldLayoutId id="2147493201" r:id="rId55"/>
    <p:sldLayoutId id="2147493202" r:id="rId56"/>
    <p:sldLayoutId id="2147493203" r:id="rId57"/>
    <p:sldLayoutId id="2147493204" r:id="rId58"/>
    <p:sldLayoutId id="2147493205" r:id="rId59"/>
    <p:sldLayoutId id="2147493206" r:id="rId60"/>
    <p:sldLayoutId id="2147493207" r:id="rId61"/>
    <p:sldLayoutId id="2147493208" r:id="rId62"/>
    <p:sldLayoutId id="2147493209" r:id="rId63"/>
    <p:sldLayoutId id="2147493210" r:id="rId64"/>
    <p:sldLayoutId id="2147493211" r:id="rId65"/>
    <p:sldLayoutId id="2147493212" r:id="rId66"/>
    <p:sldLayoutId id="2147493213" r:id="rId67"/>
    <p:sldLayoutId id="2147493214" r:id="rId68"/>
    <p:sldLayoutId id="2147493215" r:id="rId6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 id="2147493442" r:id="rId41"/>
    <p:sldLayoutId id="2147493443"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07715364"/>
      </p:ext>
    </p:extLst>
  </p:cSld>
  <p:clrMap bg1="lt1" tx1="dk1" bg2="lt2" tx2="dk2" accent1="accent1" accent2="accent2" accent3="accent3" accent4="accent4" accent5="accent5" accent6="accent6" hlink="hlink" folHlink="folHlink"/>
  <p:sldLayoutIdLst>
    <p:sldLayoutId id="2147493264" r:id="rId1"/>
    <p:sldLayoutId id="2147493265" r:id="rId2"/>
    <p:sldLayoutId id="2147493266" r:id="rId3"/>
    <p:sldLayoutId id="2147493267" r:id="rId4"/>
    <p:sldLayoutId id="2147493268" r:id="rId5"/>
    <p:sldLayoutId id="2147493269" r:id="rId6"/>
    <p:sldLayoutId id="2147493270" r:id="rId7"/>
    <p:sldLayoutId id="2147493271" r:id="rId8"/>
    <p:sldLayoutId id="2147493272" r:id="rId9"/>
    <p:sldLayoutId id="2147493273" r:id="rId10"/>
    <p:sldLayoutId id="2147493274" r:id="rId11"/>
    <p:sldLayoutId id="2147493275" r:id="rId12"/>
    <p:sldLayoutId id="2147493276" r:id="rId13"/>
    <p:sldLayoutId id="2147493277" r:id="rId14"/>
    <p:sldLayoutId id="2147493278" r:id="rId15"/>
    <p:sldLayoutId id="2147493279" r:id="rId16"/>
    <p:sldLayoutId id="2147493280" r:id="rId17"/>
    <p:sldLayoutId id="2147493281" r:id="rId18"/>
    <p:sldLayoutId id="2147493282" r:id="rId19"/>
    <p:sldLayoutId id="2147493283" r:id="rId20"/>
    <p:sldLayoutId id="2147493284" r:id="rId21"/>
    <p:sldLayoutId id="2147493285" r:id="rId22"/>
    <p:sldLayoutId id="2147493286" r:id="rId23"/>
    <p:sldLayoutId id="2147493287" r:id="rId24"/>
    <p:sldLayoutId id="2147493288" r:id="rId25"/>
    <p:sldLayoutId id="2147493289" r:id="rId26"/>
    <p:sldLayoutId id="2147493290" r:id="rId27"/>
    <p:sldLayoutId id="2147493291" r:id="rId28"/>
    <p:sldLayoutId id="2147493292" r:id="rId29"/>
    <p:sldLayoutId id="2147493293" r:id="rId30"/>
    <p:sldLayoutId id="2147493294" r:id="rId31"/>
    <p:sldLayoutId id="2147493295" r:id="rId32"/>
    <p:sldLayoutId id="2147493296" r:id="rId33"/>
    <p:sldLayoutId id="2147493297" r:id="rId34"/>
    <p:sldLayoutId id="2147493298" r:id="rId35"/>
    <p:sldLayoutId id="2147493299" r:id="rId36"/>
    <p:sldLayoutId id="2147493300" r:id="rId37"/>
    <p:sldLayoutId id="2147493301" r:id="rId38"/>
    <p:sldLayoutId id="2147493302" r:id="rId39"/>
    <p:sldLayoutId id="2147493303" r:id="rId40"/>
    <p:sldLayoutId id="2147493304" r:id="rId41"/>
    <p:sldLayoutId id="2147493305" r:id="rId42"/>
    <p:sldLayoutId id="2147493306" r:id="rId43"/>
    <p:sldLayoutId id="2147493307" r:id="rId44"/>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4" progId="TCLayout.ActiveDocument.1">
                  <p:embed/>
                </p:oleObj>
              </mc:Choice>
              <mc:Fallback>
                <p:oleObj name="think-cell Slide" r:id="rId28"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 id="2147493436" r:id="rId23"/>
    <p:sldLayoutId id="2147493437" r:id="rId24"/>
    <p:sldLayoutId id="2147493440" r:id="rId25"/>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05617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92468" r:id="rId11"/>
    <p:sldLayoutId id="2147492418" r:id="rId12"/>
    <p:sldLayoutId id="2147492469" r:id="rId13"/>
    <p:sldLayoutId id="2147492470" r:id="rId14"/>
    <p:sldLayoutId id="2147492471" r:id="rId15"/>
    <p:sldLayoutId id="2147492472" r:id="rId16"/>
    <p:sldLayoutId id="2147492473" r:id="rId17"/>
    <p:sldLayoutId id="2147492474" r:id="rId18"/>
    <p:sldLayoutId id="2147492475" r:id="rId19"/>
    <p:sldLayoutId id="2147492476" r:id="rId20"/>
    <p:sldLayoutId id="2147492477" r:id="rId21"/>
    <p:sldLayoutId id="2147485196" r:id="rId22"/>
    <p:sldLayoutId id="2147492479" r:id="rId23"/>
    <p:sldLayoutId id="2147485270" r:id="rId24"/>
    <p:sldLayoutId id="2147493080"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92435" r:id="rId1"/>
    <p:sldLayoutId id="2147492436" r:id="rId2"/>
    <p:sldLayoutId id="2147492437" r:id="rId3"/>
    <p:sldLayoutId id="2147492438" r:id="rId4"/>
    <p:sldLayoutId id="2147492439" r:id="rId5"/>
    <p:sldLayoutId id="2147492440" r:id="rId6"/>
    <p:sldLayoutId id="2147492441" r:id="rId7"/>
    <p:sldLayoutId id="2147492442" r:id="rId8"/>
    <p:sldLayoutId id="2147492443" r:id="rId9"/>
    <p:sldLayoutId id="2147492444" r:id="rId10"/>
    <p:sldLayoutId id="2147492445" r:id="rId11"/>
    <p:sldLayoutId id="2147492446" r:id="rId12"/>
    <p:sldLayoutId id="2147492447" r:id="rId13"/>
    <p:sldLayoutId id="2147492448" r:id="rId14"/>
    <p:sldLayoutId id="2147492449" r:id="rId15"/>
    <p:sldLayoutId id="2147492450" r:id="rId16"/>
    <p:sldLayoutId id="2147492451" r:id="rId17"/>
    <p:sldLayoutId id="2147492452" r:id="rId18"/>
    <p:sldLayoutId id="2147492453" r:id="rId19"/>
    <p:sldLayoutId id="2147492454" r:id="rId20"/>
    <p:sldLayoutId id="2147492455" r:id="rId21"/>
    <p:sldLayoutId id="2147492456" r:id="rId22"/>
    <p:sldLayoutId id="2147492457" r:id="rId23"/>
    <p:sldLayoutId id="2147492458" r:id="rId24"/>
    <p:sldLayoutId id="2147492459" r:id="rId25"/>
    <p:sldLayoutId id="2147492460" r:id="rId26"/>
    <p:sldLayoutId id="2147492461" r:id="rId27"/>
    <p:sldLayoutId id="2147492462" r:id="rId28"/>
    <p:sldLayoutId id="2147492463" r:id="rId29"/>
    <p:sldLayoutId id="2147492464" r:id="rId30"/>
    <p:sldLayoutId id="2147492465" r:id="rId31"/>
    <p:sldLayoutId id="2147492466" r:id="rId32"/>
    <p:sldLayoutId id="2147484945" r:id="rId33"/>
    <p:sldLayoutId id="2147484946" r:id="rId34"/>
    <p:sldLayoutId id="2147484947"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4" r:id="rId1"/>
    <p:sldLayoutId id="2147492688" r:id="rId2"/>
    <p:sldLayoutId id="2147492689" r:id="rId3"/>
    <p:sldLayoutId id="2147492690" r:id="rId4"/>
    <p:sldLayoutId id="2147492691" r:id="rId5"/>
    <p:sldLayoutId id="2147492692" r:id="rId6"/>
    <p:sldLayoutId id="2147484965" r:id="rId7"/>
    <p:sldLayoutId id="2147484966" r:id="rId8"/>
    <p:sldLayoutId id="2147484967" r:id="rId9"/>
    <p:sldLayoutId id="2147492693" r:id="rId10"/>
    <p:sldLayoutId id="2147484968" r:id="rId11"/>
    <p:sldLayoutId id="2147492694" r:id="rId12"/>
    <p:sldLayoutId id="2147492695" r:id="rId13"/>
    <p:sldLayoutId id="2147484937" r:id="rId14"/>
    <p:sldLayoutId id="2147492696" r:id="rId15"/>
    <p:sldLayoutId id="2147484938" r:id="rId16"/>
    <p:sldLayoutId id="2147492697" r:id="rId17"/>
    <p:sldLayoutId id="2147492698" r:id="rId18"/>
    <p:sldLayoutId id="2147492699" r:id="rId19"/>
    <p:sldLayoutId id="2147492700" r:id="rId20"/>
    <p:sldLayoutId id="2147492701" r:id="rId21"/>
    <p:sldLayoutId id="2147492702" r:id="rId22"/>
    <p:sldLayoutId id="2147492703" r:id="rId23"/>
    <p:sldLayoutId id="2147492704" r:id="rId24"/>
    <p:sldLayoutId id="2147492705" r:id="rId25"/>
    <p:sldLayoutId id="2147484963" r:id="rId26"/>
    <p:sldLayoutId id="2147484964" r:id="rId27"/>
    <p:sldLayoutId id="2147484981" r:id="rId28"/>
    <p:sldLayoutId id="2147484982" r:id="rId29"/>
    <p:sldLayoutId id="2147484958" r:id="rId30"/>
    <p:sldLayoutId id="2147484960" r:id="rId31"/>
    <p:sldLayoutId id="2147484959" r:id="rId32"/>
    <p:sldLayoutId id="2147492685" r:id="rId33"/>
    <p:sldLayoutId id="2147492686" r:id="rId34"/>
    <p:sldLayoutId id="2147484962" r:id="rId35"/>
    <p:sldLayoutId id="2147484961" r:id="rId36"/>
    <p:sldLayoutId id="2147492706" r:id="rId37"/>
    <p:sldLayoutId id="2147492707" r:id="rId38"/>
    <p:sldLayoutId id="2147492708" r:id="rId39"/>
    <p:sldLayoutId id="2147492709" r:id="rId40"/>
    <p:sldLayoutId id="2147492710" r:id="rId41"/>
    <p:sldLayoutId id="2147492711" r:id="rId42"/>
    <p:sldLayoutId id="2147492712" r:id="rId43"/>
    <p:sldLayoutId id="2147484995" r:id="rId4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107490"/>
      </p:ext>
    </p:extLst>
  </p:cSld>
  <p:clrMap bg1="lt1" tx1="dk1" bg2="lt2" tx2="dk2" accent1="accent1" accent2="accent2" accent3="accent3" accent4="accent4" accent5="accent5" accent6="accent6" hlink="hlink" folHlink="folHlink"/>
  <p:sldLayoutIdLst>
    <p:sldLayoutId id="2147492754" r:id="rId1"/>
    <p:sldLayoutId id="2147492755" r:id="rId2"/>
    <p:sldLayoutId id="2147492756" r:id="rId3"/>
    <p:sldLayoutId id="2147492757" r:id="rId4"/>
    <p:sldLayoutId id="2147492758" r:id="rId5"/>
    <p:sldLayoutId id="2147492759" r:id="rId6"/>
    <p:sldLayoutId id="2147492760" r:id="rId7"/>
    <p:sldLayoutId id="2147492761" r:id="rId8"/>
    <p:sldLayoutId id="2147492762" r:id="rId9"/>
    <p:sldLayoutId id="2147492763" r:id="rId10"/>
    <p:sldLayoutId id="2147492764" r:id="rId11"/>
    <p:sldLayoutId id="2147492765" r:id="rId12"/>
    <p:sldLayoutId id="2147492766" r:id="rId13"/>
    <p:sldLayoutId id="2147492767" r:id="rId14"/>
    <p:sldLayoutId id="2147492768" r:id="rId15"/>
    <p:sldLayoutId id="2147492770" r:id="rId16"/>
    <p:sldLayoutId id="2147492771" r:id="rId17"/>
    <p:sldLayoutId id="2147492772" r:id="rId18"/>
    <p:sldLayoutId id="2147492773" r:id="rId19"/>
    <p:sldLayoutId id="2147492774" r:id="rId20"/>
    <p:sldLayoutId id="2147492775" r:id="rId21"/>
    <p:sldLayoutId id="2147492776" r:id="rId22"/>
    <p:sldLayoutId id="2147492777" r:id="rId23"/>
    <p:sldLayoutId id="2147492778" r:id="rId24"/>
    <p:sldLayoutId id="2147492779" r:id="rId25"/>
    <p:sldLayoutId id="2147492780" r:id="rId26"/>
    <p:sldLayoutId id="2147492781" r:id="rId27"/>
    <p:sldLayoutId id="2147492782" r:id="rId28"/>
    <p:sldLayoutId id="2147492783" r:id="rId29"/>
    <p:sldLayoutId id="2147492784" r:id="rId30"/>
    <p:sldLayoutId id="2147492785" r:id="rId31"/>
    <p:sldLayoutId id="2147492786" r:id="rId32"/>
    <p:sldLayoutId id="2147492787" r:id="rId33"/>
    <p:sldLayoutId id="2147492788" r:id="rId34"/>
    <p:sldLayoutId id="2147492789" r:id="rId3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773.xml"/></Relationships>
</file>

<file path=ppt/slides/_rels/slide11.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773.xml"/></Relationships>
</file>

<file path=ppt/slides/_rels/slide1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773.xml"/></Relationships>
</file>

<file path=ppt/slides/_rels/slide1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773.xml"/></Relationships>
</file>

<file path=ppt/slides/_rels/slide1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773.xml"/></Relationships>
</file>

<file path=ppt/slides/_rels/slide1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773.xml"/></Relationships>
</file>

<file path=ppt/slides/_rels/slide1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77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image" Target="../media/image117.emf"/><Relationship Id="rId1" Type="http://schemas.openxmlformats.org/officeDocument/2006/relationships/slideLayout" Target="../slideLayouts/slideLayout77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7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3.xml"/></Relationships>
</file>

<file path=ppt/slides/_rels/slide6.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xml"/><Relationship Id="rId1" Type="http://schemas.openxmlformats.org/officeDocument/2006/relationships/slideLayout" Target="../slideLayouts/slideLayout775.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774.xml"/></Relationships>
</file>

<file path=ppt/slides/_rels/slide9.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80.png"/><Relationship Id="rId3" Type="http://schemas.openxmlformats.org/officeDocument/2006/relationships/image" Target="../media/image1210.png"/><Relationship Id="rId7" Type="http://schemas.openxmlformats.org/officeDocument/2006/relationships/image" Target="../media/image1230.png"/><Relationship Id="rId12"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Layout" Target="../slideLayouts/slideLayout773.xml"/><Relationship Id="rId6" Type="http://schemas.openxmlformats.org/officeDocument/2006/relationships/image" Target="../media/image123.png"/><Relationship Id="rId11" Type="http://schemas.openxmlformats.org/officeDocument/2006/relationships/image" Target="../media/image1270.png"/><Relationship Id="rId5" Type="http://schemas.openxmlformats.org/officeDocument/2006/relationships/image" Target="../media/image1220.png"/><Relationship Id="rId15" Type="http://schemas.openxmlformats.org/officeDocument/2006/relationships/image" Target="../media/image1290.png"/><Relationship Id="rId10" Type="http://schemas.openxmlformats.org/officeDocument/2006/relationships/image" Target="../media/image125.png"/><Relationship Id="rId4" Type="http://schemas.openxmlformats.org/officeDocument/2006/relationships/image" Target="../media/image122.png"/><Relationship Id="rId9" Type="http://schemas.openxmlformats.org/officeDocument/2006/relationships/image" Target="../media/image1260.png"/><Relationship Id="rId14" Type="http://schemas.openxmlformats.org/officeDocument/2006/relationships/image" Target="../media/image1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6539318" cy="984885"/>
          </a:xfrm>
        </p:spPr>
        <p:txBody>
          <a:bodyPr/>
          <a:lstStyle/>
          <a:p>
            <a:r>
              <a:rPr lang="en-US" sz="3200" dirty="0"/>
              <a:t>Vision Diagrams Series</a:t>
            </a:r>
            <a:br>
              <a:rPr lang="en-US" sz="3200" dirty="0"/>
            </a:br>
            <a:r>
              <a:rPr lang="en-US" sz="3200" dirty="0"/>
              <a:t>Microsoft Priva</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A73D6FD6-2133-41EE-AC72-BC41B41F4064}"/>
              </a:ext>
            </a:extLst>
          </p:cNvPr>
          <p:cNvSpPr txBox="1"/>
          <p:nvPr/>
        </p:nvSpPr>
        <p:spPr>
          <a:xfrm>
            <a:off x="10674316" y="6632953"/>
            <a:ext cx="1311560" cy="153888"/>
          </a:xfrm>
          <a:prstGeom prst="rect">
            <a:avLst/>
          </a:prstGeom>
          <a:noFill/>
        </p:spPr>
        <p:txBody>
          <a:bodyPr wrap="square" lIns="0" tIns="0" rIns="0" bIns="0" rtlCol="0">
            <a:spAutoFit/>
          </a:bodyPr>
          <a:lstStyle/>
          <a:p>
            <a:pPr algn="l"/>
            <a:r>
              <a:rPr lang="en-US" sz="1000" dirty="0"/>
              <a:t>Version </a:t>
            </a:r>
            <a:r>
              <a:rPr lang="en-US" sz="1000"/>
              <a:t>: 2022-08-11</a:t>
            </a:r>
            <a:endParaRPr lang="en-US" sz="1000" dirty="0"/>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4EC627-59C1-4DA8-A5E1-8F17A337F170}"/>
              </a:ext>
            </a:extLst>
          </p:cNvPr>
          <p:cNvPicPr>
            <a:picLocks noChangeAspect="1"/>
          </p:cNvPicPr>
          <p:nvPr/>
        </p:nvPicPr>
        <p:blipFill>
          <a:blip r:embed="rId2"/>
          <a:stretch>
            <a:fillRect/>
          </a:stretch>
        </p:blipFill>
        <p:spPr>
          <a:xfrm>
            <a:off x="713409" y="0"/>
            <a:ext cx="10765181" cy="6858000"/>
          </a:xfrm>
          <a:prstGeom prst="rect">
            <a:avLst/>
          </a:prstGeom>
        </p:spPr>
      </p:pic>
    </p:spTree>
    <p:extLst>
      <p:ext uri="{BB962C8B-B14F-4D97-AF65-F5344CB8AC3E}">
        <p14:creationId xmlns:p14="http://schemas.microsoft.com/office/powerpoint/2010/main" val="3956689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FFD985-277B-44F0-91B3-689702F10B03}"/>
              </a:ext>
            </a:extLst>
          </p:cNvPr>
          <p:cNvPicPr>
            <a:picLocks noChangeAspect="1"/>
          </p:cNvPicPr>
          <p:nvPr/>
        </p:nvPicPr>
        <p:blipFill>
          <a:blip r:embed="rId2"/>
          <a:stretch>
            <a:fillRect/>
          </a:stretch>
        </p:blipFill>
        <p:spPr>
          <a:xfrm>
            <a:off x="0" y="-100752"/>
            <a:ext cx="12192000" cy="3979918"/>
          </a:xfrm>
          <a:prstGeom prst="rect">
            <a:avLst/>
          </a:prstGeom>
        </p:spPr>
      </p:pic>
    </p:spTree>
    <p:extLst>
      <p:ext uri="{BB962C8B-B14F-4D97-AF65-F5344CB8AC3E}">
        <p14:creationId xmlns:p14="http://schemas.microsoft.com/office/powerpoint/2010/main" val="1092214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FDD7-4C9A-4088-8A44-955081A46F9A}"/>
              </a:ext>
            </a:extLst>
          </p:cNvPr>
          <p:cNvPicPr>
            <a:picLocks noChangeAspect="1"/>
          </p:cNvPicPr>
          <p:nvPr/>
        </p:nvPicPr>
        <p:blipFill>
          <a:blip r:embed="rId2"/>
          <a:stretch>
            <a:fillRect/>
          </a:stretch>
        </p:blipFill>
        <p:spPr>
          <a:xfrm>
            <a:off x="896660" y="0"/>
            <a:ext cx="10398680" cy="6858000"/>
          </a:xfrm>
          <a:prstGeom prst="rect">
            <a:avLst/>
          </a:prstGeom>
        </p:spPr>
      </p:pic>
    </p:spTree>
    <p:extLst>
      <p:ext uri="{BB962C8B-B14F-4D97-AF65-F5344CB8AC3E}">
        <p14:creationId xmlns:p14="http://schemas.microsoft.com/office/powerpoint/2010/main" val="556304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4CED7D-D75F-4D54-B3DE-31FC7B83E752}"/>
              </a:ext>
            </a:extLst>
          </p:cNvPr>
          <p:cNvPicPr>
            <a:picLocks noChangeAspect="1"/>
          </p:cNvPicPr>
          <p:nvPr/>
        </p:nvPicPr>
        <p:blipFill>
          <a:blip r:embed="rId2"/>
          <a:stretch>
            <a:fillRect/>
          </a:stretch>
        </p:blipFill>
        <p:spPr>
          <a:xfrm>
            <a:off x="0" y="14729"/>
            <a:ext cx="12192000" cy="5814646"/>
          </a:xfrm>
          <a:prstGeom prst="rect">
            <a:avLst/>
          </a:prstGeom>
        </p:spPr>
      </p:pic>
    </p:spTree>
    <p:extLst>
      <p:ext uri="{BB962C8B-B14F-4D97-AF65-F5344CB8AC3E}">
        <p14:creationId xmlns:p14="http://schemas.microsoft.com/office/powerpoint/2010/main" val="457264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C59A60-A5D2-49F9-B7DF-267BBBE3CD78}"/>
              </a:ext>
            </a:extLst>
          </p:cNvPr>
          <p:cNvPicPr>
            <a:picLocks noChangeAspect="1"/>
          </p:cNvPicPr>
          <p:nvPr/>
        </p:nvPicPr>
        <p:blipFill>
          <a:blip r:embed="rId2"/>
          <a:stretch>
            <a:fillRect/>
          </a:stretch>
        </p:blipFill>
        <p:spPr>
          <a:xfrm>
            <a:off x="867583" y="0"/>
            <a:ext cx="10456833" cy="6858000"/>
          </a:xfrm>
          <a:prstGeom prst="rect">
            <a:avLst/>
          </a:prstGeom>
        </p:spPr>
      </p:pic>
    </p:spTree>
    <p:extLst>
      <p:ext uri="{BB962C8B-B14F-4D97-AF65-F5344CB8AC3E}">
        <p14:creationId xmlns:p14="http://schemas.microsoft.com/office/powerpoint/2010/main" val="40430604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9B8BFC-3E9D-4474-9FD0-C35A9AB82349}"/>
              </a:ext>
            </a:extLst>
          </p:cNvPr>
          <p:cNvPicPr>
            <a:picLocks noChangeAspect="1"/>
          </p:cNvPicPr>
          <p:nvPr/>
        </p:nvPicPr>
        <p:blipFill>
          <a:blip r:embed="rId2"/>
          <a:stretch>
            <a:fillRect/>
          </a:stretch>
        </p:blipFill>
        <p:spPr>
          <a:xfrm>
            <a:off x="-1" y="-1"/>
            <a:ext cx="9047747" cy="5923085"/>
          </a:xfrm>
          <a:prstGeom prst="rect">
            <a:avLst/>
          </a:prstGeom>
        </p:spPr>
      </p:pic>
      <p:pic>
        <p:nvPicPr>
          <p:cNvPr id="8" name="Picture 7">
            <a:extLst>
              <a:ext uri="{FF2B5EF4-FFF2-40B4-BE49-F238E27FC236}">
                <a16:creationId xmlns:a16="http://schemas.microsoft.com/office/drawing/2014/main" id="{24B69299-95AC-4C7D-A551-5EC98AD54BD5}"/>
              </a:ext>
            </a:extLst>
          </p:cNvPr>
          <p:cNvPicPr>
            <a:picLocks noChangeAspect="1"/>
          </p:cNvPicPr>
          <p:nvPr/>
        </p:nvPicPr>
        <p:blipFill>
          <a:blip r:embed="rId3"/>
          <a:stretch>
            <a:fillRect/>
          </a:stretch>
        </p:blipFill>
        <p:spPr>
          <a:xfrm>
            <a:off x="6912260" y="3011332"/>
            <a:ext cx="5279740" cy="3846668"/>
          </a:xfrm>
          <a:prstGeom prst="rect">
            <a:avLst/>
          </a:prstGeom>
          <a:ln>
            <a:solidFill>
              <a:schemeClr val="tx1"/>
            </a:solidFill>
          </a:ln>
        </p:spPr>
      </p:pic>
    </p:spTree>
    <p:extLst>
      <p:ext uri="{BB962C8B-B14F-4D97-AF65-F5344CB8AC3E}">
        <p14:creationId xmlns:p14="http://schemas.microsoft.com/office/powerpoint/2010/main" val="11452766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C9E3CF3-1F32-4F56-A68B-DAFBE1932E18}"/>
              </a:ext>
            </a:extLst>
          </p:cNvPr>
          <p:cNvPicPr>
            <a:picLocks noChangeAspect="1"/>
          </p:cNvPicPr>
          <p:nvPr/>
        </p:nvPicPr>
        <p:blipFill>
          <a:blip r:embed="rId2"/>
          <a:stretch>
            <a:fillRect/>
          </a:stretch>
        </p:blipFill>
        <p:spPr>
          <a:xfrm>
            <a:off x="888076" y="0"/>
            <a:ext cx="10415848" cy="6858000"/>
          </a:xfrm>
          <a:prstGeom prst="rect">
            <a:avLst/>
          </a:prstGeom>
        </p:spPr>
      </p:pic>
    </p:spTree>
    <p:extLst>
      <p:ext uri="{BB962C8B-B14F-4D97-AF65-F5344CB8AC3E}">
        <p14:creationId xmlns:p14="http://schemas.microsoft.com/office/powerpoint/2010/main" val="132150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Microsoft Priva</a:t>
            </a:r>
          </a:p>
          <a:p>
            <a:pPr algn="ctr"/>
            <a:r>
              <a:rPr lang="en-US" sz="3600" i="1" dirty="0"/>
              <a:t>fulfills data subject requests</a:t>
            </a:r>
          </a:p>
          <a:p>
            <a:pPr algn="ctr"/>
            <a:r>
              <a:rPr lang="en-US" sz="3600" i="1" dirty="0"/>
              <a:t>and monitors personal data </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7433776-FDC5-4DAD-8427-EE32777855E9}"/>
              </a:ext>
            </a:extLst>
          </p:cNvPr>
          <p:cNvSpPr txBox="1"/>
          <p:nvPr/>
        </p:nvSpPr>
        <p:spPr>
          <a:xfrm>
            <a:off x="1046205" y="222421"/>
            <a:ext cx="919342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828"/>
                </a:solidFill>
                <a:effectLst/>
                <a:uLnTx/>
                <a:uFillTx/>
                <a:latin typeface="Segoe UI"/>
                <a:ea typeface="+mn-ea"/>
                <a:cs typeface="+mn-cs"/>
              </a:rPr>
              <a:t>Priva is made of 2 modules </a:t>
            </a:r>
          </a:p>
        </p:txBody>
      </p:sp>
      <p:sp>
        <p:nvSpPr>
          <p:cNvPr id="5" name="TextBox 4">
            <a:extLst>
              <a:ext uri="{FF2B5EF4-FFF2-40B4-BE49-F238E27FC236}">
                <a16:creationId xmlns:a16="http://schemas.microsoft.com/office/drawing/2014/main" id="{2744573C-9735-4329-A3C4-92B24AC45397}"/>
              </a:ext>
            </a:extLst>
          </p:cNvPr>
          <p:cNvSpPr txBox="1"/>
          <p:nvPr/>
        </p:nvSpPr>
        <p:spPr>
          <a:xfrm rot="16200000">
            <a:off x="-3229635"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ntext</a:t>
            </a:r>
          </a:p>
        </p:txBody>
      </p:sp>
      <p:grpSp>
        <p:nvGrpSpPr>
          <p:cNvPr id="3" name="Group 2">
            <a:extLst>
              <a:ext uri="{FF2B5EF4-FFF2-40B4-BE49-F238E27FC236}">
                <a16:creationId xmlns:a16="http://schemas.microsoft.com/office/drawing/2014/main" id="{A1859AF8-1481-485F-A830-233487D72036}"/>
              </a:ext>
            </a:extLst>
          </p:cNvPr>
          <p:cNvGrpSpPr/>
          <p:nvPr/>
        </p:nvGrpSpPr>
        <p:grpSpPr>
          <a:xfrm>
            <a:off x="699427" y="1183081"/>
            <a:ext cx="4728236" cy="3230849"/>
            <a:chOff x="698501" y="1187164"/>
            <a:chExt cx="4728236" cy="3230849"/>
          </a:xfrm>
        </p:grpSpPr>
        <p:sp>
          <p:nvSpPr>
            <p:cNvPr id="2" name="TextBox 1">
              <a:extLst>
                <a:ext uri="{FF2B5EF4-FFF2-40B4-BE49-F238E27FC236}">
                  <a16:creationId xmlns:a16="http://schemas.microsoft.com/office/drawing/2014/main" id="{8500B3F6-3DB2-4AF2-AF41-25C9A35F2078}"/>
                </a:ext>
              </a:extLst>
            </p:cNvPr>
            <p:cNvSpPr txBox="1"/>
            <p:nvPr/>
          </p:nvSpPr>
          <p:spPr>
            <a:xfrm flipH="1">
              <a:off x="1809416" y="1187164"/>
              <a:ext cx="3617321" cy="627864"/>
            </a:xfrm>
            <a:prstGeom prst="rect">
              <a:avLst/>
            </a:prstGeom>
            <a:no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Subject </a:t>
              </a:r>
              <a:r>
                <a:rPr lang="en-US" sz="2400" dirty="0">
                  <a:gradFill>
                    <a:gsLst>
                      <a:gs pos="2917">
                        <a:srgbClr val="282828"/>
                      </a:gs>
                      <a:gs pos="30000">
                        <a:srgbClr val="282828"/>
                      </a:gs>
                    </a:gsLst>
                    <a:lin ang="5400000" scaled="0"/>
                  </a:gradFill>
                  <a:latin typeface="Segoe UI"/>
                </a:rPr>
                <a:t>Rights</a:t>
              </a:r>
              <a:r>
                <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 Requests</a:t>
              </a:r>
            </a:p>
          </p:txBody>
        </p:sp>
        <p:sp>
          <p:nvSpPr>
            <p:cNvPr id="8" name="Freeform 5">
              <a:extLst>
                <a:ext uri="{FF2B5EF4-FFF2-40B4-BE49-F238E27FC236}">
                  <a16:creationId xmlns:a16="http://schemas.microsoft.com/office/drawing/2014/main" id="{8B257C19-CB1C-4644-A05B-674284AF647B}"/>
                </a:ext>
              </a:extLst>
            </p:cNvPr>
            <p:cNvSpPr>
              <a:spLocks/>
            </p:cNvSpPr>
            <p:nvPr/>
          </p:nvSpPr>
          <p:spPr bwMode="auto">
            <a:xfrm>
              <a:off x="2627313" y="3584575"/>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F5FCC16-D3CA-4ACA-9E9B-6CC9C0B42F39}"/>
                </a:ext>
              </a:extLst>
            </p:cNvPr>
            <p:cNvSpPr>
              <a:spLocks/>
            </p:cNvSpPr>
            <p:nvPr/>
          </p:nvSpPr>
          <p:spPr bwMode="auto">
            <a:xfrm>
              <a:off x="2627313" y="3584575"/>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7">
              <a:extLst>
                <a:ext uri="{FF2B5EF4-FFF2-40B4-BE49-F238E27FC236}">
                  <a16:creationId xmlns:a16="http://schemas.microsoft.com/office/drawing/2014/main" id="{4F4A8479-CCCF-45D7-8EB0-213426DF8BEE}"/>
                </a:ext>
              </a:extLst>
            </p:cNvPr>
            <p:cNvSpPr>
              <a:spLocks noChangeArrowheads="1"/>
            </p:cNvSpPr>
            <p:nvPr/>
          </p:nvSpPr>
          <p:spPr bwMode="auto">
            <a:xfrm>
              <a:off x="3041331" y="3704733"/>
              <a:ext cx="3552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Calibri" panose="020F0502020204030204" pitchFamily="34" charset="0"/>
                </a:rPr>
                <a:t>Priva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Rectangle 9">
              <a:extLst>
                <a:ext uri="{FF2B5EF4-FFF2-40B4-BE49-F238E27FC236}">
                  <a16:creationId xmlns:a16="http://schemas.microsoft.com/office/drawing/2014/main" id="{E25D589A-5D8A-40EE-B3DB-0A3B5E67AEAA}"/>
                </a:ext>
              </a:extLst>
            </p:cNvPr>
            <p:cNvSpPr>
              <a:spLocks noChangeArrowheads="1"/>
            </p:cNvSpPr>
            <p:nvPr/>
          </p:nvSpPr>
          <p:spPr bwMode="auto">
            <a:xfrm>
              <a:off x="1163638" y="4222750"/>
              <a:ext cx="8175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manage DS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Freeform 13">
              <a:extLst>
                <a:ext uri="{FF2B5EF4-FFF2-40B4-BE49-F238E27FC236}">
                  <a16:creationId xmlns:a16="http://schemas.microsoft.com/office/drawing/2014/main" id="{2A43F59C-78BF-42DD-9F71-A2DF8381CA32}"/>
                </a:ext>
              </a:extLst>
            </p:cNvPr>
            <p:cNvSpPr>
              <a:spLocks/>
            </p:cNvSpPr>
            <p:nvPr/>
          </p:nvSpPr>
          <p:spPr bwMode="auto">
            <a:xfrm>
              <a:off x="858838" y="3313113"/>
              <a:ext cx="138113" cy="138113"/>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093CF386-22FB-47F1-86F6-7651FB20B7B9}"/>
                </a:ext>
              </a:extLst>
            </p:cNvPr>
            <p:cNvSpPr>
              <a:spLocks/>
            </p:cNvSpPr>
            <p:nvPr/>
          </p:nvSpPr>
          <p:spPr bwMode="auto">
            <a:xfrm>
              <a:off x="825501" y="3467100"/>
              <a:ext cx="206375" cy="103188"/>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266CE405-EB17-41BB-9F6F-C7FE252261CE}"/>
                </a:ext>
              </a:extLst>
            </p:cNvPr>
            <p:cNvSpPr>
              <a:spLocks/>
            </p:cNvSpPr>
            <p:nvPr/>
          </p:nvSpPr>
          <p:spPr bwMode="auto">
            <a:xfrm>
              <a:off x="712788" y="3502025"/>
              <a:ext cx="95250" cy="69850"/>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6"/>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5B37A071-BAE9-45DB-AE90-192A746814A2}"/>
                </a:ext>
              </a:extLst>
            </p:cNvPr>
            <p:cNvSpPr>
              <a:spLocks/>
            </p:cNvSpPr>
            <p:nvPr/>
          </p:nvSpPr>
          <p:spPr bwMode="auto">
            <a:xfrm>
              <a:off x="728663" y="3382963"/>
              <a:ext cx="104775" cy="103188"/>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DD8C77C-011E-4467-A4E7-0E99777C1B09}"/>
                </a:ext>
              </a:extLst>
            </p:cNvPr>
            <p:cNvSpPr>
              <a:spLocks noChangeArrowheads="1"/>
            </p:cNvSpPr>
            <p:nvPr/>
          </p:nvSpPr>
          <p:spPr bwMode="auto">
            <a:xfrm>
              <a:off x="1101726" y="3328988"/>
              <a:ext cx="1092200"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Data Subjec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6" name="Freeform 93">
              <a:extLst>
                <a:ext uri="{FF2B5EF4-FFF2-40B4-BE49-F238E27FC236}">
                  <a16:creationId xmlns:a16="http://schemas.microsoft.com/office/drawing/2014/main" id="{52E6BE36-A5F6-4E9E-AA90-3D3C002F8031}"/>
                </a:ext>
              </a:extLst>
            </p:cNvPr>
            <p:cNvSpPr>
              <a:spLocks/>
            </p:cNvSpPr>
            <p:nvPr/>
          </p:nvSpPr>
          <p:spPr bwMode="auto">
            <a:xfrm>
              <a:off x="844551" y="4010025"/>
              <a:ext cx="138113" cy="138113"/>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94">
              <a:extLst>
                <a:ext uri="{FF2B5EF4-FFF2-40B4-BE49-F238E27FC236}">
                  <a16:creationId xmlns:a16="http://schemas.microsoft.com/office/drawing/2014/main" id="{C0F3D8BC-F8F6-487C-8703-6FB22EDC5BED}"/>
                </a:ext>
              </a:extLst>
            </p:cNvPr>
            <p:cNvSpPr>
              <a:spLocks/>
            </p:cNvSpPr>
            <p:nvPr/>
          </p:nvSpPr>
          <p:spPr bwMode="auto">
            <a:xfrm>
              <a:off x="811213" y="4164013"/>
              <a:ext cx="204788" cy="103188"/>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95">
              <a:extLst>
                <a:ext uri="{FF2B5EF4-FFF2-40B4-BE49-F238E27FC236}">
                  <a16:creationId xmlns:a16="http://schemas.microsoft.com/office/drawing/2014/main" id="{DB624768-611F-42C0-8E4E-CD584196D492}"/>
                </a:ext>
              </a:extLst>
            </p:cNvPr>
            <p:cNvSpPr>
              <a:spLocks/>
            </p:cNvSpPr>
            <p:nvPr/>
          </p:nvSpPr>
          <p:spPr bwMode="auto">
            <a:xfrm>
              <a:off x="698501" y="4198938"/>
              <a:ext cx="95250" cy="698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6">
              <a:extLst>
                <a:ext uri="{FF2B5EF4-FFF2-40B4-BE49-F238E27FC236}">
                  <a16:creationId xmlns:a16="http://schemas.microsoft.com/office/drawing/2014/main" id="{0334B777-626E-45AA-B926-800679005A4D}"/>
                </a:ext>
              </a:extLst>
            </p:cNvPr>
            <p:cNvSpPr>
              <a:spLocks/>
            </p:cNvSpPr>
            <p:nvPr/>
          </p:nvSpPr>
          <p:spPr bwMode="auto">
            <a:xfrm>
              <a:off x="715963" y="4079875"/>
              <a:ext cx="103188" cy="103188"/>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7" y="289"/>
                    <a:pt x="140" y="289"/>
                    <a:pt x="144" y="289"/>
                  </a:cubicBezTo>
                  <a:cubicBezTo>
                    <a:pt x="146"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Rectangle 97">
              <a:extLst>
                <a:ext uri="{FF2B5EF4-FFF2-40B4-BE49-F238E27FC236}">
                  <a16:creationId xmlns:a16="http://schemas.microsoft.com/office/drawing/2014/main" id="{AD08B3D1-2F13-43E3-A8CA-CCEE166FC9DF}"/>
                </a:ext>
              </a:extLst>
            </p:cNvPr>
            <p:cNvSpPr>
              <a:spLocks noChangeArrowheads="1"/>
            </p:cNvSpPr>
            <p:nvPr/>
          </p:nvSpPr>
          <p:spPr bwMode="auto">
            <a:xfrm>
              <a:off x="1147763" y="4022725"/>
              <a:ext cx="1173163"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Administrato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1" name="Rectangle 98">
              <a:extLst>
                <a:ext uri="{FF2B5EF4-FFF2-40B4-BE49-F238E27FC236}">
                  <a16:creationId xmlns:a16="http://schemas.microsoft.com/office/drawing/2014/main" id="{9258A60E-FBE2-4E94-B0CA-455E0E4032DE}"/>
                </a:ext>
              </a:extLst>
            </p:cNvPr>
            <p:cNvSpPr>
              <a:spLocks noChangeArrowheads="1"/>
            </p:cNvSpPr>
            <p:nvPr/>
          </p:nvSpPr>
          <p:spPr bwMode="auto">
            <a:xfrm>
              <a:off x="1116013" y="3506788"/>
              <a:ext cx="1012825"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request access to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99">
              <a:extLst>
                <a:ext uri="{FF2B5EF4-FFF2-40B4-BE49-F238E27FC236}">
                  <a16:creationId xmlns:a16="http://schemas.microsoft.com/office/drawing/2014/main" id="{2EF31BD2-788E-48D7-A9C5-CA288A62483A}"/>
                </a:ext>
              </a:extLst>
            </p:cNvPr>
            <p:cNvSpPr>
              <a:spLocks noChangeArrowheads="1"/>
            </p:cNvSpPr>
            <p:nvPr/>
          </p:nvSpPr>
          <p:spPr bwMode="auto">
            <a:xfrm>
              <a:off x="1116013" y="3651250"/>
              <a:ext cx="109220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their personal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2" name="Group 21">
            <a:extLst>
              <a:ext uri="{FF2B5EF4-FFF2-40B4-BE49-F238E27FC236}">
                <a16:creationId xmlns:a16="http://schemas.microsoft.com/office/drawing/2014/main" id="{4E429A69-1E56-4F45-8389-D775685A94A6}"/>
              </a:ext>
            </a:extLst>
          </p:cNvPr>
          <p:cNvGrpSpPr/>
          <p:nvPr/>
        </p:nvGrpSpPr>
        <p:grpSpPr>
          <a:xfrm>
            <a:off x="2371726" y="4013200"/>
            <a:ext cx="1741488" cy="2155825"/>
            <a:chOff x="2371726" y="4013200"/>
            <a:chExt cx="1741488" cy="2155825"/>
          </a:xfrm>
        </p:grpSpPr>
        <p:sp>
          <p:nvSpPr>
            <p:cNvPr id="23" name="Rectangle 100">
              <a:extLst>
                <a:ext uri="{FF2B5EF4-FFF2-40B4-BE49-F238E27FC236}">
                  <a16:creationId xmlns:a16="http://schemas.microsoft.com/office/drawing/2014/main" id="{11367D0D-CFFE-4BDB-869E-073646FFDBA7}"/>
                </a:ext>
              </a:extLst>
            </p:cNvPr>
            <p:cNvSpPr>
              <a:spLocks noChangeArrowheads="1"/>
            </p:cNvSpPr>
            <p:nvPr/>
          </p:nvSpPr>
          <p:spPr bwMode="auto">
            <a:xfrm>
              <a:off x="2371726" y="5121275"/>
              <a:ext cx="1647825" cy="1047750"/>
            </a:xfrm>
            <a:prstGeom prst="rect">
              <a:avLst/>
            </a:prstGeom>
            <a:solidFill>
              <a:srgbClr val="FFF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01">
              <a:extLst>
                <a:ext uri="{FF2B5EF4-FFF2-40B4-BE49-F238E27FC236}">
                  <a16:creationId xmlns:a16="http://schemas.microsoft.com/office/drawing/2014/main" id="{4B7970A8-0424-4DEE-9A26-8BCC85104E27}"/>
                </a:ext>
              </a:extLst>
            </p:cNvPr>
            <p:cNvSpPr>
              <a:spLocks noChangeArrowheads="1"/>
            </p:cNvSpPr>
            <p:nvPr/>
          </p:nvSpPr>
          <p:spPr bwMode="auto">
            <a:xfrm>
              <a:off x="2371726" y="5121275"/>
              <a:ext cx="1647825" cy="1047750"/>
            </a:xfrm>
            <a:prstGeom prst="rect">
              <a:avLst/>
            </a:pr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Rectangle 102">
              <a:extLst>
                <a:ext uri="{FF2B5EF4-FFF2-40B4-BE49-F238E27FC236}">
                  <a16:creationId xmlns:a16="http://schemas.microsoft.com/office/drawing/2014/main" id="{A72BDF22-4BD6-4422-9720-D82140846C15}"/>
                </a:ext>
              </a:extLst>
            </p:cNvPr>
            <p:cNvSpPr>
              <a:spLocks noChangeArrowheads="1"/>
            </p:cNvSpPr>
            <p:nvPr/>
          </p:nvSpPr>
          <p:spPr bwMode="auto">
            <a:xfrm>
              <a:off x="2981326" y="5364163"/>
              <a:ext cx="542925"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Calibri" panose="020F0502020204030204" pitchFamily="34" charset="0"/>
                </a:rPr>
                <a:t>M36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103">
              <a:extLst>
                <a:ext uri="{FF2B5EF4-FFF2-40B4-BE49-F238E27FC236}">
                  <a16:creationId xmlns:a16="http://schemas.microsoft.com/office/drawing/2014/main" id="{A06B80D8-1BE4-46B9-899A-1B07F1123649}"/>
                </a:ext>
              </a:extLst>
            </p:cNvPr>
            <p:cNvSpPr>
              <a:spLocks noChangeArrowheads="1"/>
            </p:cNvSpPr>
            <p:nvPr/>
          </p:nvSpPr>
          <p:spPr bwMode="auto">
            <a:xfrm>
              <a:off x="3289301" y="4381500"/>
              <a:ext cx="8239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identifies and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Rectangle 104">
              <a:extLst>
                <a:ext uri="{FF2B5EF4-FFF2-40B4-BE49-F238E27FC236}">
                  <a16:creationId xmlns:a16="http://schemas.microsoft.com/office/drawing/2014/main" id="{ED0CC594-A83F-467C-B37A-0997E0548DF4}"/>
                </a:ext>
              </a:extLst>
            </p:cNvPr>
            <p:cNvSpPr>
              <a:spLocks noChangeArrowheads="1"/>
            </p:cNvSpPr>
            <p:nvPr/>
          </p:nvSpPr>
          <p:spPr bwMode="auto">
            <a:xfrm>
              <a:off x="3289301" y="4527550"/>
              <a:ext cx="7646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extracts data in</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
          <p:nvSpPr>
            <p:cNvPr id="28" name="Freeform 105">
              <a:extLst>
                <a:ext uri="{FF2B5EF4-FFF2-40B4-BE49-F238E27FC236}">
                  <a16:creationId xmlns:a16="http://schemas.microsoft.com/office/drawing/2014/main" id="{853FFF01-DF42-412A-AECD-419EC20C87DE}"/>
                </a:ext>
              </a:extLst>
            </p:cNvPr>
            <p:cNvSpPr>
              <a:spLocks noEditPoints="1"/>
            </p:cNvSpPr>
            <p:nvPr/>
          </p:nvSpPr>
          <p:spPr bwMode="auto">
            <a:xfrm>
              <a:off x="2871788" y="5783263"/>
              <a:ext cx="309563" cy="309563"/>
            </a:xfrm>
            <a:custGeom>
              <a:avLst/>
              <a:gdLst>
                <a:gd name="T0" fmla="*/ 841 w 864"/>
                <a:gd name="T1" fmla="*/ 93 h 866"/>
                <a:gd name="T2" fmla="*/ 507 w 864"/>
                <a:gd name="T3" fmla="*/ 93 h 866"/>
                <a:gd name="T4" fmla="*/ 507 w 864"/>
                <a:gd name="T5" fmla="*/ 0 h 866"/>
                <a:gd name="T6" fmla="*/ 0 w 864"/>
                <a:gd name="T7" fmla="*/ 89 h 866"/>
                <a:gd name="T8" fmla="*/ 0 w 864"/>
                <a:gd name="T9" fmla="*/ 778 h 866"/>
                <a:gd name="T10" fmla="*/ 507 w 864"/>
                <a:gd name="T11" fmla="*/ 866 h 866"/>
                <a:gd name="T12" fmla="*/ 507 w 864"/>
                <a:gd name="T13" fmla="*/ 784 h 866"/>
                <a:gd name="T14" fmla="*/ 841 w 864"/>
                <a:gd name="T15" fmla="*/ 784 h 866"/>
                <a:gd name="T16" fmla="*/ 864 w 864"/>
                <a:gd name="T17" fmla="*/ 762 h 866"/>
                <a:gd name="T18" fmla="*/ 864 w 864"/>
                <a:gd name="T19" fmla="*/ 116 h 866"/>
                <a:gd name="T20" fmla="*/ 841 w 864"/>
                <a:gd name="T21" fmla="*/ 93 h 866"/>
                <a:gd name="T22" fmla="*/ 320 w 864"/>
                <a:gd name="T23" fmla="*/ 577 h 866"/>
                <a:gd name="T24" fmla="*/ 263 w 864"/>
                <a:gd name="T25" fmla="*/ 573 h 866"/>
                <a:gd name="T26" fmla="*/ 222 w 864"/>
                <a:gd name="T27" fmla="*/ 366 h 866"/>
                <a:gd name="T28" fmla="*/ 181 w 864"/>
                <a:gd name="T29" fmla="*/ 568 h 866"/>
                <a:gd name="T30" fmla="*/ 129 w 864"/>
                <a:gd name="T31" fmla="*/ 564 h 866"/>
                <a:gd name="T32" fmla="*/ 79 w 864"/>
                <a:gd name="T33" fmla="*/ 307 h 866"/>
                <a:gd name="T34" fmla="*/ 127 w 864"/>
                <a:gd name="T35" fmla="*/ 302 h 866"/>
                <a:gd name="T36" fmla="*/ 159 w 864"/>
                <a:gd name="T37" fmla="*/ 505 h 866"/>
                <a:gd name="T38" fmla="*/ 202 w 864"/>
                <a:gd name="T39" fmla="*/ 296 h 866"/>
                <a:gd name="T40" fmla="*/ 254 w 864"/>
                <a:gd name="T41" fmla="*/ 291 h 866"/>
                <a:gd name="T42" fmla="*/ 295 w 864"/>
                <a:gd name="T43" fmla="*/ 507 h 866"/>
                <a:gd name="T44" fmla="*/ 334 w 864"/>
                <a:gd name="T45" fmla="*/ 286 h 866"/>
                <a:gd name="T46" fmla="*/ 388 w 864"/>
                <a:gd name="T47" fmla="*/ 282 h 866"/>
                <a:gd name="T48" fmla="*/ 320 w 864"/>
                <a:gd name="T49" fmla="*/ 577 h 866"/>
                <a:gd name="T50" fmla="*/ 834 w 864"/>
                <a:gd name="T51" fmla="*/ 757 h 866"/>
                <a:gd name="T52" fmla="*/ 504 w 864"/>
                <a:gd name="T53" fmla="*/ 757 h 866"/>
                <a:gd name="T54" fmla="*/ 504 w 864"/>
                <a:gd name="T55" fmla="*/ 689 h 866"/>
                <a:gd name="T56" fmla="*/ 759 w 864"/>
                <a:gd name="T57" fmla="*/ 689 h 866"/>
                <a:gd name="T58" fmla="*/ 759 w 864"/>
                <a:gd name="T59" fmla="*/ 646 h 866"/>
                <a:gd name="T60" fmla="*/ 504 w 864"/>
                <a:gd name="T61" fmla="*/ 646 h 866"/>
                <a:gd name="T62" fmla="*/ 504 w 864"/>
                <a:gd name="T63" fmla="*/ 593 h 866"/>
                <a:gd name="T64" fmla="*/ 759 w 864"/>
                <a:gd name="T65" fmla="*/ 593 h 866"/>
                <a:gd name="T66" fmla="*/ 759 w 864"/>
                <a:gd name="T67" fmla="*/ 555 h 866"/>
                <a:gd name="T68" fmla="*/ 504 w 864"/>
                <a:gd name="T69" fmla="*/ 555 h 866"/>
                <a:gd name="T70" fmla="*/ 504 w 864"/>
                <a:gd name="T71" fmla="*/ 502 h 866"/>
                <a:gd name="T72" fmla="*/ 759 w 864"/>
                <a:gd name="T73" fmla="*/ 502 h 866"/>
                <a:gd name="T74" fmla="*/ 759 w 864"/>
                <a:gd name="T75" fmla="*/ 464 h 866"/>
                <a:gd name="T76" fmla="*/ 504 w 864"/>
                <a:gd name="T77" fmla="*/ 464 h 866"/>
                <a:gd name="T78" fmla="*/ 504 w 864"/>
                <a:gd name="T79" fmla="*/ 412 h 866"/>
                <a:gd name="T80" fmla="*/ 759 w 864"/>
                <a:gd name="T81" fmla="*/ 412 h 866"/>
                <a:gd name="T82" fmla="*/ 759 w 864"/>
                <a:gd name="T83" fmla="*/ 373 h 866"/>
                <a:gd name="T84" fmla="*/ 504 w 864"/>
                <a:gd name="T85" fmla="*/ 373 h 866"/>
                <a:gd name="T86" fmla="*/ 504 w 864"/>
                <a:gd name="T87" fmla="*/ 321 h 866"/>
                <a:gd name="T88" fmla="*/ 759 w 864"/>
                <a:gd name="T89" fmla="*/ 321 h 866"/>
                <a:gd name="T90" fmla="*/ 759 w 864"/>
                <a:gd name="T91" fmla="*/ 282 h 866"/>
                <a:gd name="T92" fmla="*/ 504 w 864"/>
                <a:gd name="T93" fmla="*/ 282 h 866"/>
                <a:gd name="T94" fmla="*/ 504 w 864"/>
                <a:gd name="T95" fmla="*/ 230 h 866"/>
                <a:gd name="T96" fmla="*/ 759 w 864"/>
                <a:gd name="T97" fmla="*/ 230 h 866"/>
                <a:gd name="T98" fmla="*/ 759 w 864"/>
                <a:gd name="T99" fmla="*/ 191 h 866"/>
                <a:gd name="T100" fmla="*/ 504 w 864"/>
                <a:gd name="T101" fmla="*/ 191 h 866"/>
                <a:gd name="T102" fmla="*/ 504 w 864"/>
                <a:gd name="T103" fmla="*/ 127 h 866"/>
                <a:gd name="T104" fmla="*/ 834 w 864"/>
                <a:gd name="T105" fmla="*/ 127 h 866"/>
                <a:gd name="T106" fmla="*/ 834 w 864"/>
                <a:gd name="T107" fmla="*/ 757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4" h="866">
                  <a:moveTo>
                    <a:pt x="841" y="93"/>
                  </a:moveTo>
                  <a:lnTo>
                    <a:pt x="507" y="93"/>
                  </a:lnTo>
                  <a:lnTo>
                    <a:pt x="507" y="0"/>
                  </a:lnTo>
                  <a:lnTo>
                    <a:pt x="0" y="89"/>
                  </a:lnTo>
                  <a:lnTo>
                    <a:pt x="0" y="778"/>
                  </a:lnTo>
                  <a:lnTo>
                    <a:pt x="507" y="866"/>
                  </a:lnTo>
                  <a:lnTo>
                    <a:pt x="507" y="784"/>
                  </a:lnTo>
                  <a:lnTo>
                    <a:pt x="841" y="784"/>
                  </a:lnTo>
                  <a:cubicBezTo>
                    <a:pt x="854" y="784"/>
                    <a:pt x="864" y="773"/>
                    <a:pt x="864" y="762"/>
                  </a:cubicBezTo>
                  <a:lnTo>
                    <a:pt x="864" y="116"/>
                  </a:lnTo>
                  <a:cubicBezTo>
                    <a:pt x="864" y="102"/>
                    <a:pt x="852" y="93"/>
                    <a:pt x="841" y="93"/>
                  </a:cubicBezTo>
                  <a:close/>
                  <a:moveTo>
                    <a:pt x="320" y="577"/>
                  </a:moveTo>
                  <a:lnTo>
                    <a:pt x="263" y="573"/>
                  </a:lnTo>
                  <a:lnTo>
                    <a:pt x="222" y="366"/>
                  </a:lnTo>
                  <a:cubicBezTo>
                    <a:pt x="220" y="371"/>
                    <a:pt x="181" y="568"/>
                    <a:pt x="181" y="568"/>
                  </a:cubicBezTo>
                  <a:lnTo>
                    <a:pt x="129" y="564"/>
                  </a:lnTo>
                  <a:lnTo>
                    <a:pt x="79" y="307"/>
                  </a:lnTo>
                  <a:lnTo>
                    <a:pt x="127" y="302"/>
                  </a:lnTo>
                  <a:cubicBezTo>
                    <a:pt x="127" y="302"/>
                    <a:pt x="159" y="502"/>
                    <a:pt x="159" y="505"/>
                  </a:cubicBezTo>
                  <a:lnTo>
                    <a:pt x="202" y="296"/>
                  </a:lnTo>
                  <a:lnTo>
                    <a:pt x="254" y="291"/>
                  </a:lnTo>
                  <a:cubicBezTo>
                    <a:pt x="254" y="291"/>
                    <a:pt x="295" y="502"/>
                    <a:pt x="295" y="507"/>
                  </a:cubicBezTo>
                  <a:lnTo>
                    <a:pt x="334" y="286"/>
                  </a:lnTo>
                  <a:lnTo>
                    <a:pt x="388" y="282"/>
                  </a:lnTo>
                  <a:lnTo>
                    <a:pt x="320" y="577"/>
                  </a:lnTo>
                  <a:close/>
                  <a:moveTo>
                    <a:pt x="834" y="757"/>
                  </a:moveTo>
                  <a:lnTo>
                    <a:pt x="504" y="757"/>
                  </a:lnTo>
                  <a:lnTo>
                    <a:pt x="504" y="689"/>
                  </a:lnTo>
                  <a:lnTo>
                    <a:pt x="759" y="689"/>
                  </a:lnTo>
                  <a:lnTo>
                    <a:pt x="759" y="646"/>
                  </a:lnTo>
                  <a:lnTo>
                    <a:pt x="504" y="646"/>
                  </a:lnTo>
                  <a:lnTo>
                    <a:pt x="504" y="593"/>
                  </a:lnTo>
                  <a:lnTo>
                    <a:pt x="759" y="593"/>
                  </a:lnTo>
                  <a:lnTo>
                    <a:pt x="759" y="555"/>
                  </a:lnTo>
                  <a:lnTo>
                    <a:pt x="504" y="555"/>
                  </a:lnTo>
                  <a:lnTo>
                    <a:pt x="504" y="502"/>
                  </a:lnTo>
                  <a:lnTo>
                    <a:pt x="759" y="502"/>
                  </a:lnTo>
                  <a:lnTo>
                    <a:pt x="759" y="464"/>
                  </a:lnTo>
                  <a:lnTo>
                    <a:pt x="504" y="464"/>
                  </a:lnTo>
                  <a:lnTo>
                    <a:pt x="504" y="412"/>
                  </a:lnTo>
                  <a:lnTo>
                    <a:pt x="759" y="412"/>
                  </a:lnTo>
                  <a:lnTo>
                    <a:pt x="759" y="373"/>
                  </a:lnTo>
                  <a:lnTo>
                    <a:pt x="504" y="373"/>
                  </a:lnTo>
                  <a:lnTo>
                    <a:pt x="504" y="321"/>
                  </a:lnTo>
                  <a:lnTo>
                    <a:pt x="759" y="321"/>
                  </a:lnTo>
                  <a:lnTo>
                    <a:pt x="759" y="282"/>
                  </a:lnTo>
                  <a:lnTo>
                    <a:pt x="504" y="282"/>
                  </a:lnTo>
                  <a:lnTo>
                    <a:pt x="504" y="230"/>
                  </a:lnTo>
                  <a:lnTo>
                    <a:pt x="759" y="230"/>
                  </a:lnTo>
                  <a:lnTo>
                    <a:pt x="759" y="191"/>
                  </a:lnTo>
                  <a:lnTo>
                    <a:pt x="504" y="191"/>
                  </a:lnTo>
                  <a:lnTo>
                    <a:pt x="504" y="127"/>
                  </a:lnTo>
                  <a:lnTo>
                    <a:pt x="834" y="127"/>
                  </a:lnTo>
                  <a:lnTo>
                    <a:pt x="834" y="757"/>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106">
              <a:extLst>
                <a:ext uri="{FF2B5EF4-FFF2-40B4-BE49-F238E27FC236}">
                  <a16:creationId xmlns:a16="http://schemas.microsoft.com/office/drawing/2014/main" id="{AC467260-E3AE-4223-B9A3-459101DE5EF1}"/>
                </a:ext>
              </a:extLst>
            </p:cNvPr>
            <p:cNvSpPr>
              <a:spLocks noChangeArrowheads="1"/>
            </p:cNvSpPr>
            <p:nvPr/>
          </p:nvSpPr>
          <p:spPr bwMode="auto">
            <a:xfrm>
              <a:off x="3232151" y="5835650"/>
              <a:ext cx="258763"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07">
              <a:extLst>
                <a:ext uri="{FF2B5EF4-FFF2-40B4-BE49-F238E27FC236}">
                  <a16:creationId xmlns:a16="http://schemas.microsoft.com/office/drawing/2014/main" id="{7BE3C8B7-E099-436E-8EB5-6D82D9616778}"/>
                </a:ext>
              </a:extLst>
            </p:cNvPr>
            <p:cNvSpPr>
              <a:spLocks noChangeArrowheads="1"/>
            </p:cNvSpPr>
            <p:nvPr/>
          </p:nvSpPr>
          <p:spPr bwMode="auto">
            <a:xfrm>
              <a:off x="3232151" y="5835650"/>
              <a:ext cx="258763" cy="206375"/>
            </a:xfrm>
            <a:prstGeom prst="rect">
              <a:avLst/>
            </a:prstGeom>
            <a:noFill/>
            <a:ln w="2222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108">
              <a:extLst>
                <a:ext uri="{FF2B5EF4-FFF2-40B4-BE49-F238E27FC236}">
                  <a16:creationId xmlns:a16="http://schemas.microsoft.com/office/drawing/2014/main" id="{001F8191-F242-498C-899A-3BDDAEC698E3}"/>
                </a:ext>
              </a:extLst>
            </p:cNvPr>
            <p:cNvSpPr>
              <a:spLocks/>
            </p:cNvSpPr>
            <p:nvPr/>
          </p:nvSpPr>
          <p:spPr bwMode="auto">
            <a:xfrm>
              <a:off x="3232151" y="5835650"/>
              <a:ext cx="258763" cy="139700"/>
            </a:xfrm>
            <a:custGeom>
              <a:avLst/>
              <a:gdLst>
                <a:gd name="T0" fmla="*/ 0 w 163"/>
                <a:gd name="T1" fmla="*/ 0 h 88"/>
                <a:gd name="T2" fmla="*/ 163 w 163"/>
                <a:gd name="T3" fmla="*/ 0 h 88"/>
                <a:gd name="T4" fmla="*/ 81 w 163"/>
                <a:gd name="T5" fmla="*/ 88 h 88"/>
                <a:gd name="T6" fmla="*/ 0 w 163"/>
                <a:gd name="T7" fmla="*/ 0 h 88"/>
              </a:gdLst>
              <a:ahLst/>
              <a:cxnLst>
                <a:cxn ang="0">
                  <a:pos x="T0" y="T1"/>
                </a:cxn>
                <a:cxn ang="0">
                  <a:pos x="T2" y="T3"/>
                </a:cxn>
                <a:cxn ang="0">
                  <a:pos x="T4" y="T5"/>
                </a:cxn>
                <a:cxn ang="0">
                  <a:pos x="T6" y="T7"/>
                </a:cxn>
              </a:cxnLst>
              <a:rect l="0" t="0" r="r" b="b"/>
              <a:pathLst>
                <a:path w="163" h="88">
                  <a:moveTo>
                    <a:pt x="0" y="0"/>
                  </a:moveTo>
                  <a:lnTo>
                    <a:pt x="163" y="0"/>
                  </a:lnTo>
                  <a:lnTo>
                    <a:pt x="81" y="8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09">
              <a:extLst>
                <a:ext uri="{FF2B5EF4-FFF2-40B4-BE49-F238E27FC236}">
                  <a16:creationId xmlns:a16="http://schemas.microsoft.com/office/drawing/2014/main" id="{FF9B7276-6564-4B87-BAA5-2A631F091659}"/>
                </a:ext>
              </a:extLst>
            </p:cNvPr>
            <p:cNvSpPr>
              <a:spLocks/>
            </p:cNvSpPr>
            <p:nvPr/>
          </p:nvSpPr>
          <p:spPr bwMode="auto">
            <a:xfrm>
              <a:off x="3232151" y="5835650"/>
              <a:ext cx="258763" cy="139700"/>
            </a:xfrm>
            <a:custGeom>
              <a:avLst/>
              <a:gdLst>
                <a:gd name="T0" fmla="*/ 0 w 163"/>
                <a:gd name="T1" fmla="*/ 0 h 88"/>
                <a:gd name="T2" fmla="*/ 163 w 163"/>
                <a:gd name="T3" fmla="*/ 0 h 88"/>
                <a:gd name="T4" fmla="*/ 81 w 163"/>
                <a:gd name="T5" fmla="*/ 88 h 88"/>
                <a:gd name="T6" fmla="*/ 0 w 163"/>
                <a:gd name="T7" fmla="*/ 0 h 88"/>
              </a:gdLst>
              <a:ahLst/>
              <a:cxnLst>
                <a:cxn ang="0">
                  <a:pos x="T0" y="T1"/>
                </a:cxn>
                <a:cxn ang="0">
                  <a:pos x="T2" y="T3"/>
                </a:cxn>
                <a:cxn ang="0">
                  <a:pos x="T4" y="T5"/>
                </a:cxn>
                <a:cxn ang="0">
                  <a:pos x="T6" y="T7"/>
                </a:cxn>
              </a:cxnLst>
              <a:rect l="0" t="0" r="r" b="b"/>
              <a:pathLst>
                <a:path w="163" h="88">
                  <a:moveTo>
                    <a:pt x="0" y="0"/>
                  </a:moveTo>
                  <a:lnTo>
                    <a:pt x="163" y="0"/>
                  </a:lnTo>
                  <a:lnTo>
                    <a:pt x="81" y="88"/>
                  </a:lnTo>
                  <a:lnTo>
                    <a:pt x="0" y="0"/>
                  </a:lnTo>
                  <a:close/>
                </a:path>
              </a:pathLst>
            </a:custGeom>
            <a:noFill/>
            <a:ln w="22225" cap="flat">
              <a:solidFill>
                <a:srgbClr val="232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110">
              <a:extLst>
                <a:ext uri="{FF2B5EF4-FFF2-40B4-BE49-F238E27FC236}">
                  <a16:creationId xmlns:a16="http://schemas.microsoft.com/office/drawing/2014/main" id="{AE782418-A988-4021-BD31-967D54CB174A}"/>
                </a:ext>
              </a:extLst>
            </p:cNvPr>
            <p:cNvSpPr>
              <a:spLocks/>
            </p:cNvSpPr>
            <p:nvPr/>
          </p:nvSpPr>
          <p:spPr bwMode="auto">
            <a:xfrm>
              <a:off x="3395663" y="5938838"/>
              <a:ext cx="95250" cy="103188"/>
            </a:xfrm>
            <a:custGeom>
              <a:avLst/>
              <a:gdLst>
                <a:gd name="T0" fmla="*/ 60 w 60"/>
                <a:gd name="T1" fmla="*/ 65 h 65"/>
                <a:gd name="T2" fmla="*/ 0 w 60"/>
                <a:gd name="T3" fmla="*/ 0 h 65"/>
                <a:gd name="T4" fmla="*/ 60 w 60"/>
                <a:gd name="T5" fmla="*/ 65 h 65"/>
              </a:gdLst>
              <a:ahLst/>
              <a:cxnLst>
                <a:cxn ang="0">
                  <a:pos x="T0" y="T1"/>
                </a:cxn>
                <a:cxn ang="0">
                  <a:pos x="T2" y="T3"/>
                </a:cxn>
                <a:cxn ang="0">
                  <a:pos x="T4" y="T5"/>
                </a:cxn>
              </a:cxnLst>
              <a:rect l="0" t="0" r="r" b="b"/>
              <a:pathLst>
                <a:path w="60" h="65">
                  <a:moveTo>
                    <a:pt x="60" y="65"/>
                  </a:moveTo>
                  <a:lnTo>
                    <a:pt x="0" y="0"/>
                  </a:lnTo>
                  <a:lnTo>
                    <a:pt x="60"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Line 111">
              <a:extLst>
                <a:ext uri="{FF2B5EF4-FFF2-40B4-BE49-F238E27FC236}">
                  <a16:creationId xmlns:a16="http://schemas.microsoft.com/office/drawing/2014/main" id="{CB5F53DE-EC0E-4C52-91D5-0FC468711426}"/>
                </a:ext>
              </a:extLst>
            </p:cNvPr>
            <p:cNvSpPr>
              <a:spLocks noChangeShapeType="1"/>
            </p:cNvSpPr>
            <p:nvPr/>
          </p:nvSpPr>
          <p:spPr bwMode="auto">
            <a:xfrm flipH="1" flipV="1">
              <a:off x="3395663" y="5938838"/>
              <a:ext cx="95250" cy="103188"/>
            </a:xfrm>
            <a:prstGeom prst="line">
              <a:avLst/>
            </a:prstGeom>
            <a:noFill/>
            <a:ln w="2222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112">
              <a:extLst>
                <a:ext uri="{FF2B5EF4-FFF2-40B4-BE49-F238E27FC236}">
                  <a16:creationId xmlns:a16="http://schemas.microsoft.com/office/drawing/2014/main" id="{F84EE2EE-EE97-4005-92F2-25D66819061D}"/>
                </a:ext>
              </a:extLst>
            </p:cNvPr>
            <p:cNvSpPr>
              <a:spLocks/>
            </p:cNvSpPr>
            <p:nvPr/>
          </p:nvSpPr>
          <p:spPr bwMode="auto">
            <a:xfrm>
              <a:off x="3232151" y="5938838"/>
              <a:ext cx="95250" cy="103188"/>
            </a:xfrm>
            <a:custGeom>
              <a:avLst/>
              <a:gdLst>
                <a:gd name="T0" fmla="*/ 0 w 60"/>
                <a:gd name="T1" fmla="*/ 65 h 65"/>
                <a:gd name="T2" fmla="*/ 60 w 60"/>
                <a:gd name="T3" fmla="*/ 0 h 65"/>
                <a:gd name="T4" fmla="*/ 0 w 60"/>
                <a:gd name="T5" fmla="*/ 65 h 65"/>
              </a:gdLst>
              <a:ahLst/>
              <a:cxnLst>
                <a:cxn ang="0">
                  <a:pos x="T0" y="T1"/>
                </a:cxn>
                <a:cxn ang="0">
                  <a:pos x="T2" y="T3"/>
                </a:cxn>
                <a:cxn ang="0">
                  <a:pos x="T4" y="T5"/>
                </a:cxn>
              </a:cxnLst>
              <a:rect l="0" t="0" r="r" b="b"/>
              <a:pathLst>
                <a:path w="60" h="65">
                  <a:moveTo>
                    <a:pt x="0" y="65"/>
                  </a:moveTo>
                  <a:lnTo>
                    <a:pt x="60" y="0"/>
                  </a:lnTo>
                  <a:lnTo>
                    <a:pt x="0"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Line 113">
              <a:extLst>
                <a:ext uri="{FF2B5EF4-FFF2-40B4-BE49-F238E27FC236}">
                  <a16:creationId xmlns:a16="http://schemas.microsoft.com/office/drawing/2014/main" id="{481B7D86-BE51-4625-8FFA-BAE7026FF9AF}"/>
                </a:ext>
              </a:extLst>
            </p:cNvPr>
            <p:cNvSpPr>
              <a:spLocks noChangeShapeType="1"/>
            </p:cNvSpPr>
            <p:nvPr/>
          </p:nvSpPr>
          <p:spPr bwMode="auto">
            <a:xfrm flipV="1">
              <a:off x="3232151" y="5938838"/>
              <a:ext cx="95250" cy="103188"/>
            </a:xfrm>
            <a:prstGeom prst="line">
              <a:avLst/>
            </a:prstGeom>
            <a:noFill/>
            <a:ln w="22225" cap="flat">
              <a:solidFill>
                <a:srgbClr val="232F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114">
              <a:extLst>
                <a:ext uri="{FF2B5EF4-FFF2-40B4-BE49-F238E27FC236}">
                  <a16:creationId xmlns:a16="http://schemas.microsoft.com/office/drawing/2014/main" id="{8CF2319B-3798-4188-9BEE-F8D590DA9B5C}"/>
                </a:ext>
              </a:extLst>
            </p:cNvPr>
            <p:cNvSpPr>
              <a:spLocks noEditPoints="1"/>
            </p:cNvSpPr>
            <p:nvPr/>
          </p:nvSpPr>
          <p:spPr bwMode="auto">
            <a:xfrm>
              <a:off x="3192463" y="4013200"/>
              <a:ext cx="17463" cy="1038225"/>
            </a:xfrm>
            <a:custGeom>
              <a:avLst/>
              <a:gdLst>
                <a:gd name="T0" fmla="*/ 47 w 47"/>
                <a:gd name="T1" fmla="*/ 16 h 2903"/>
                <a:gd name="T2" fmla="*/ 46 w 47"/>
                <a:gd name="T3" fmla="*/ 240 h 2903"/>
                <a:gd name="T4" fmla="*/ 30 w 47"/>
                <a:gd name="T5" fmla="*/ 256 h 2903"/>
                <a:gd name="T6" fmla="*/ 14 w 47"/>
                <a:gd name="T7" fmla="*/ 240 h 2903"/>
                <a:gd name="T8" fmla="*/ 15 w 47"/>
                <a:gd name="T9" fmla="*/ 16 h 2903"/>
                <a:gd name="T10" fmla="*/ 31 w 47"/>
                <a:gd name="T11" fmla="*/ 0 h 2903"/>
                <a:gd name="T12" fmla="*/ 47 w 47"/>
                <a:gd name="T13" fmla="*/ 16 h 2903"/>
                <a:gd name="T14" fmla="*/ 45 w 47"/>
                <a:gd name="T15" fmla="*/ 400 h 2903"/>
                <a:gd name="T16" fmla="*/ 44 w 47"/>
                <a:gd name="T17" fmla="*/ 624 h 2903"/>
                <a:gd name="T18" fmla="*/ 28 w 47"/>
                <a:gd name="T19" fmla="*/ 640 h 2903"/>
                <a:gd name="T20" fmla="*/ 12 w 47"/>
                <a:gd name="T21" fmla="*/ 624 h 2903"/>
                <a:gd name="T22" fmla="*/ 13 w 47"/>
                <a:gd name="T23" fmla="*/ 400 h 2903"/>
                <a:gd name="T24" fmla="*/ 29 w 47"/>
                <a:gd name="T25" fmla="*/ 384 h 2903"/>
                <a:gd name="T26" fmla="*/ 45 w 47"/>
                <a:gd name="T27" fmla="*/ 400 h 2903"/>
                <a:gd name="T28" fmla="*/ 43 w 47"/>
                <a:gd name="T29" fmla="*/ 784 h 2903"/>
                <a:gd name="T30" fmla="*/ 42 w 47"/>
                <a:gd name="T31" fmla="*/ 1008 h 2903"/>
                <a:gd name="T32" fmla="*/ 26 w 47"/>
                <a:gd name="T33" fmla="*/ 1024 h 2903"/>
                <a:gd name="T34" fmla="*/ 10 w 47"/>
                <a:gd name="T35" fmla="*/ 1008 h 2903"/>
                <a:gd name="T36" fmla="*/ 11 w 47"/>
                <a:gd name="T37" fmla="*/ 784 h 2903"/>
                <a:gd name="T38" fmla="*/ 27 w 47"/>
                <a:gd name="T39" fmla="*/ 768 h 2903"/>
                <a:gd name="T40" fmla="*/ 43 w 47"/>
                <a:gd name="T41" fmla="*/ 784 h 2903"/>
                <a:gd name="T42" fmla="*/ 41 w 47"/>
                <a:gd name="T43" fmla="*/ 1168 h 2903"/>
                <a:gd name="T44" fmla="*/ 40 w 47"/>
                <a:gd name="T45" fmla="*/ 1392 h 2903"/>
                <a:gd name="T46" fmla="*/ 24 w 47"/>
                <a:gd name="T47" fmla="*/ 1408 h 2903"/>
                <a:gd name="T48" fmla="*/ 8 w 47"/>
                <a:gd name="T49" fmla="*/ 1392 h 2903"/>
                <a:gd name="T50" fmla="*/ 9 w 47"/>
                <a:gd name="T51" fmla="*/ 1168 h 2903"/>
                <a:gd name="T52" fmla="*/ 25 w 47"/>
                <a:gd name="T53" fmla="*/ 1152 h 2903"/>
                <a:gd name="T54" fmla="*/ 41 w 47"/>
                <a:gd name="T55" fmla="*/ 1168 h 2903"/>
                <a:gd name="T56" fmla="*/ 39 w 47"/>
                <a:gd name="T57" fmla="*/ 1552 h 2903"/>
                <a:gd name="T58" fmla="*/ 38 w 47"/>
                <a:gd name="T59" fmla="*/ 1776 h 2903"/>
                <a:gd name="T60" fmla="*/ 22 w 47"/>
                <a:gd name="T61" fmla="*/ 1792 h 2903"/>
                <a:gd name="T62" fmla="*/ 6 w 47"/>
                <a:gd name="T63" fmla="*/ 1776 h 2903"/>
                <a:gd name="T64" fmla="*/ 7 w 47"/>
                <a:gd name="T65" fmla="*/ 1552 h 2903"/>
                <a:gd name="T66" fmla="*/ 23 w 47"/>
                <a:gd name="T67" fmla="*/ 1536 h 2903"/>
                <a:gd name="T68" fmla="*/ 39 w 47"/>
                <a:gd name="T69" fmla="*/ 1552 h 2903"/>
                <a:gd name="T70" fmla="*/ 37 w 47"/>
                <a:gd name="T71" fmla="*/ 1936 h 2903"/>
                <a:gd name="T72" fmla="*/ 36 w 47"/>
                <a:gd name="T73" fmla="*/ 2160 h 2903"/>
                <a:gd name="T74" fmla="*/ 20 w 47"/>
                <a:gd name="T75" fmla="*/ 2176 h 2903"/>
                <a:gd name="T76" fmla="*/ 4 w 47"/>
                <a:gd name="T77" fmla="*/ 2160 h 2903"/>
                <a:gd name="T78" fmla="*/ 5 w 47"/>
                <a:gd name="T79" fmla="*/ 1936 h 2903"/>
                <a:gd name="T80" fmla="*/ 21 w 47"/>
                <a:gd name="T81" fmla="*/ 1920 h 2903"/>
                <a:gd name="T82" fmla="*/ 37 w 47"/>
                <a:gd name="T83" fmla="*/ 1936 h 2903"/>
                <a:gd name="T84" fmla="*/ 35 w 47"/>
                <a:gd name="T85" fmla="*/ 2320 h 2903"/>
                <a:gd name="T86" fmla="*/ 34 w 47"/>
                <a:gd name="T87" fmla="*/ 2544 h 2903"/>
                <a:gd name="T88" fmla="*/ 18 w 47"/>
                <a:gd name="T89" fmla="*/ 2560 h 2903"/>
                <a:gd name="T90" fmla="*/ 2 w 47"/>
                <a:gd name="T91" fmla="*/ 2544 h 2903"/>
                <a:gd name="T92" fmla="*/ 3 w 47"/>
                <a:gd name="T93" fmla="*/ 2320 h 2903"/>
                <a:gd name="T94" fmla="*/ 19 w 47"/>
                <a:gd name="T95" fmla="*/ 2304 h 2903"/>
                <a:gd name="T96" fmla="*/ 35 w 47"/>
                <a:gd name="T97" fmla="*/ 2320 h 2903"/>
                <a:gd name="T98" fmla="*/ 33 w 47"/>
                <a:gd name="T99" fmla="*/ 2704 h 2903"/>
                <a:gd name="T100" fmla="*/ 32 w 47"/>
                <a:gd name="T101" fmla="*/ 2887 h 2903"/>
                <a:gd name="T102" fmla="*/ 16 w 47"/>
                <a:gd name="T103" fmla="*/ 2903 h 2903"/>
                <a:gd name="T104" fmla="*/ 0 w 47"/>
                <a:gd name="T105" fmla="*/ 2887 h 2903"/>
                <a:gd name="T106" fmla="*/ 1 w 47"/>
                <a:gd name="T107" fmla="*/ 2704 h 2903"/>
                <a:gd name="T108" fmla="*/ 17 w 47"/>
                <a:gd name="T109" fmla="*/ 2688 h 2903"/>
                <a:gd name="T110" fmla="*/ 33 w 47"/>
                <a:gd name="T111" fmla="*/ 2704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 h="2903">
                  <a:moveTo>
                    <a:pt x="47" y="16"/>
                  </a:moveTo>
                  <a:lnTo>
                    <a:pt x="46" y="240"/>
                  </a:lnTo>
                  <a:cubicBezTo>
                    <a:pt x="46" y="249"/>
                    <a:pt x="38" y="256"/>
                    <a:pt x="30" y="256"/>
                  </a:cubicBezTo>
                  <a:cubicBezTo>
                    <a:pt x="21" y="256"/>
                    <a:pt x="14" y="249"/>
                    <a:pt x="14" y="240"/>
                  </a:cubicBezTo>
                  <a:lnTo>
                    <a:pt x="15" y="16"/>
                  </a:lnTo>
                  <a:cubicBezTo>
                    <a:pt x="15" y="7"/>
                    <a:pt x="22" y="0"/>
                    <a:pt x="31" y="0"/>
                  </a:cubicBezTo>
                  <a:cubicBezTo>
                    <a:pt x="40" y="0"/>
                    <a:pt x="47" y="7"/>
                    <a:pt x="47" y="16"/>
                  </a:cubicBezTo>
                  <a:close/>
                  <a:moveTo>
                    <a:pt x="45" y="400"/>
                  </a:moveTo>
                  <a:lnTo>
                    <a:pt x="44" y="624"/>
                  </a:lnTo>
                  <a:cubicBezTo>
                    <a:pt x="44" y="633"/>
                    <a:pt x="37" y="640"/>
                    <a:pt x="28" y="640"/>
                  </a:cubicBezTo>
                  <a:cubicBezTo>
                    <a:pt x="19" y="640"/>
                    <a:pt x="12" y="633"/>
                    <a:pt x="12" y="624"/>
                  </a:cubicBezTo>
                  <a:lnTo>
                    <a:pt x="13" y="400"/>
                  </a:lnTo>
                  <a:cubicBezTo>
                    <a:pt x="13" y="391"/>
                    <a:pt x="20" y="384"/>
                    <a:pt x="29" y="384"/>
                  </a:cubicBezTo>
                  <a:cubicBezTo>
                    <a:pt x="38" y="384"/>
                    <a:pt x="45" y="391"/>
                    <a:pt x="45" y="400"/>
                  </a:cubicBezTo>
                  <a:close/>
                  <a:moveTo>
                    <a:pt x="43" y="784"/>
                  </a:moveTo>
                  <a:lnTo>
                    <a:pt x="42" y="1008"/>
                  </a:lnTo>
                  <a:cubicBezTo>
                    <a:pt x="42" y="1017"/>
                    <a:pt x="35" y="1024"/>
                    <a:pt x="26" y="1024"/>
                  </a:cubicBezTo>
                  <a:cubicBezTo>
                    <a:pt x="17" y="1024"/>
                    <a:pt x="10" y="1017"/>
                    <a:pt x="10" y="1008"/>
                  </a:cubicBezTo>
                  <a:lnTo>
                    <a:pt x="11" y="784"/>
                  </a:lnTo>
                  <a:cubicBezTo>
                    <a:pt x="11" y="775"/>
                    <a:pt x="18" y="768"/>
                    <a:pt x="27" y="768"/>
                  </a:cubicBezTo>
                  <a:cubicBezTo>
                    <a:pt x="36" y="768"/>
                    <a:pt x="43" y="775"/>
                    <a:pt x="43" y="784"/>
                  </a:cubicBezTo>
                  <a:close/>
                  <a:moveTo>
                    <a:pt x="41" y="1168"/>
                  </a:moveTo>
                  <a:lnTo>
                    <a:pt x="40" y="1392"/>
                  </a:lnTo>
                  <a:cubicBezTo>
                    <a:pt x="40" y="1401"/>
                    <a:pt x="33" y="1408"/>
                    <a:pt x="24" y="1408"/>
                  </a:cubicBezTo>
                  <a:cubicBezTo>
                    <a:pt x="15" y="1408"/>
                    <a:pt x="8" y="1401"/>
                    <a:pt x="8" y="1392"/>
                  </a:cubicBezTo>
                  <a:lnTo>
                    <a:pt x="9" y="1168"/>
                  </a:lnTo>
                  <a:cubicBezTo>
                    <a:pt x="9" y="1159"/>
                    <a:pt x="16" y="1152"/>
                    <a:pt x="25" y="1152"/>
                  </a:cubicBezTo>
                  <a:cubicBezTo>
                    <a:pt x="34" y="1152"/>
                    <a:pt x="41" y="1159"/>
                    <a:pt x="41" y="1168"/>
                  </a:cubicBezTo>
                  <a:close/>
                  <a:moveTo>
                    <a:pt x="39" y="1552"/>
                  </a:moveTo>
                  <a:lnTo>
                    <a:pt x="38" y="1776"/>
                  </a:lnTo>
                  <a:cubicBezTo>
                    <a:pt x="38" y="1785"/>
                    <a:pt x="31" y="1792"/>
                    <a:pt x="22" y="1792"/>
                  </a:cubicBezTo>
                  <a:cubicBezTo>
                    <a:pt x="13" y="1792"/>
                    <a:pt x="6" y="1785"/>
                    <a:pt x="6" y="1776"/>
                  </a:cubicBezTo>
                  <a:lnTo>
                    <a:pt x="7" y="1552"/>
                  </a:lnTo>
                  <a:cubicBezTo>
                    <a:pt x="7" y="1543"/>
                    <a:pt x="14" y="1536"/>
                    <a:pt x="23" y="1536"/>
                  </a:cubicBezTo>
                  <a:cubicBezTo>
                    <a:pt x="32" y="1536"/>
                    <a:pt x="39" y="1543"/>
                    <a:pt x="39" y="1552"/>
                  </a:cubicBezTo>
                  <a:close/>
                  <a:moveTo>
                    <a:pt x="37" y="1936"/>
                  </a:moveTo>
                  <a:lnTo>
                    <a:pt x="36" y="2160"/>
                  </a:lnTo>
                  <a:cubicBezTo>
                    <a:pt x="36" y="2169"/>
                    <a:pt x="29" y="2176"/>
                    <a:pt x="20" y="2176"/>
                  </a:cubicBezTo>
                  <a:cubicBezTo>
                    <a:pt x="11" y="2176"/>
                    <a:pt x="4" y="2169"/>
                    <a:pt x="4" y="2160"/>
                  </a:cubicBezTo>
                  <a:lnTo>
                    <a:pt x="5" y="1936"/>
                  </a:lnTo>
                  <a:cubicBezTo>
                    <a:pt x="5" y="1927"/>
                    <a:pt x="12" y="1920"/>
                    <a:pt x="21" y="1920"/>
                  </a:cubicBezTo>
                  <a:cubicBezTo>
                    <a:pt x="30" y="1920"/>
                    <a:pt x="37" y="1927"/>
                    <a:pt x="37" y="1936"/>
                  </a:cubicBezTo>
                  <a:close/>
                  <a:moveTo>
                    <a:pt x="35" y="2320"/>
                  </a:moveTo>
                  <a:lnTo>
                    <a:pt x="34" y="2544"/>
                  </a:lnTo>
                  <a:cubicBezTo>
                    <a:pt x="34" y="2553"/>
                    <a:pt x="27" y="2560"/>
                    <a:pt x="18" y="2560"/>
                  </a:cubicBezTo>
                  <a:cubicBezTo>
                    <a:pt x="9" y="2560"/>
                    <a:pt x="2" y="2553"/>
                    <a:pt x="2" y="2544"/>
                  </a:cubicBezTo>
                  <a:lnTo>
                    <a:pt x="3" y="2320"/>
                  </a:lnTo>
                  <a:cubicBezTo>
                    <a:pt x="3" y="2311"/>
                    <a:pt x="11" y="2304"/>
                    <a:pt x="19" y="2304"/>
                  </a:cubicBezTo>
                  <a:cubicBezTo>
                    <a:pt x="28" y="2304"/>
                    <a:pt x="35" y="2311"/>
                    <a:pt x="35" y="2320"/>
                  </a:cubicBezTo>
                  <a:close/>
                  <a:moveTo>
                    <a:pt x="33" y="2704"/>
                  </a:moveTo>
                  <a:lnTo>
                    <a:pt x="32" y="2887"/>
                  </a:lnTo>
                  <a:cubicBezTo>
                    <a:pt x="32" y="2896"/>
                    <a:pt x="25" y="2903"/>
                    <a:pt x="16" y="2903"/>
                  </a:cubicBezTo>
                  <a:cubicBezTo>
                    <a:pt x="8" y="2903"/>
                    <a:pt x="0" y="2896"/>
                    <a:pt x="0" y="2887"/>
                  </a:cubicBezTo>
                  <a:lnTo>
                    <a:pt x="1" y="2704"/>
                  </a:lnTo>
                  <a:cubicBezTo>
                    <a:pt x="1" y="2695"/>
                    <a:pt x="9" y="2688"/>
                    <a:pt x="17" y="2688"/>
                  </a:cubicBezTo>
                  <a:cubicBezTo>
                    <a:pt x="26" y="2688"/>
                    <a:pt x="33" y="2695"/>
                    <a:pt x="33" y="270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15">
              <a:extLst>
                <a:ext uri="{FF2B5EF4-FFF2-40B4-BE49-F238E27FC236}">
                  <a16:creationId xmlns:a16="http://schemas.microsoft.com/office/drawing/2014/main" id="{AE865AB4-2FCC-4657-9991-330FB7F696CC}"/>
                </a:ext>
              </a:extLst>
            </p:cNvPr>
            <p:cNvSpPr>
              <a:spLocks/>
            </p:cNvSpPr>
            <p:nvPr/>
          </p:nvSpPr>
          <p:spPr bwMode="auto">
            <a:xfrm>
              <a:off x="3149601" y="5021263"/>
              <a:ext cx="100013" cy="100013"/>
            </a:xfrm>
            <a:custGeom>
              <a:avLst/>
              <a:gdLst>
                <a:gd name="T0" fmla="*/ 138 w 279"/>
                <a:gd name="T1" fmla="*/ 279 h 279"/>
                <a:gd name="T2" fmla="*/ 0 w 279"/>
                <a:gd name="T3" fmla="*/ 0 h 279"/>
                <a:gd name="T4" fmla="*/ 279 w 279"/>
                <a:gd name="T5" fmla="*/ 1 h 279"/>
                <a:gd name="T6" fmla="*/ 138 w 279"/>
                <a:gd name="T7" fmla="*/ 279 h 279"/>
              </a:gdLst>
              <a:ahLst/>
              <a:cxnLst>
                <a:cxn ang="0">
                  <a:pos x="T0" y="T1"/>
                </a:cxn>
                <a:cxn ang="0">
                  <a:pos x="T2" y="T3"/>
                </a:cxn>
                <a:cxn ang="0">
                  <a:pos x="T4" y="T5"/>
                </a:cxn>
                <a:cxn ang="0">
                  <a:pos x="T6" y="T7"/>
                </a:cxn>
              </a:cxnLst>
              <a:rect l="0" t="0" r="r" b="b"/>
              <a:pathLst>
                <a:path w="279" h="279">
                  <a:moveTo>
                    <a:pt x="138" y="279"/>
                  </a:moveTo>
                  <a:lnTo>
                    <a:pt x="0" y="0"/>
                  </a:lnTo>
                  <a:cubicBezTo>
                    <a:pt x="88" y="44"/>
                    <a:pt x="191" y="45"/>
                    <a:pt x="279" y="1"/>
                  </a:cubicBezTo>
                  <a:lnTo>
                    <a:pt x="138"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9" name="Group 38">
            <a:extLst>
              <a:ext uri="{FF2B5EF4-FFF2-40B4-BE49-F238E27FC236}">
                <a16:creationId xmlns:a16="http://schemas.microsoft.com/office/drawing/2014/main" id="{8420DDCF-F195-4AB8-8973-07B521EDC488}"/>
              </a:ext>
            </a:extLst>
          </p:cNvPr>
          <p:cNvGrpSpPr/>
          <p:nvPr/>
        </p:nvGrpSpPr>
        <p:grpSpPr>
          <a:xfrm>
            <a:off x="3200401" y="2000250"/>
            <a:ext cx="2381250" cy="1590675"/>
            <a:chOff x="3200401" y="2000250"/>
            <a:chExt cx="2381250" cy="1590675"/>
          </a:xfrm>
        </p:grpSpPr>
        <p:sp>
          <p:nvSpPr>
            <p:cNvPr id="40" name="Freeform 67">
              <a:extLst>
                <a:ext uri="{FF2B5EF4-FFF2-40B4-BE49-F238E27FC236}">
                  <a16:creationId xmlns:a16="http://schemas.microsoft.com/office/drawing/2014/main" id="{E7A361A7-F138-4284-AF6E-324F5A0B2F85}"/>
                </a:ext>
              </a:extLst>
            </p:cNvPr>
            <p:cNvSpPr>
              <a:spLocks/>
            </p:cNvSpPr>
            <p:nvPr/>
          </p:nvSpPr>
          <p:spPr bwMode="auto">
            <a:xfrm>
              <a:off x="4318001" y="2000250"/>
              <a:ext cx="1154113"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2"/>
                  </a:cubicBezTo>
                  <a:lnTo>
                    <a:pt x="3232" y="323"/>
                  </a:lnTo>
                  <a:cubicBezTo>
                    <a:pt x="3232" y="144"/>
                    <a:pt x="3088" y="0"/>
                    <a:pt x="2909" y="0"/>
                  </a:cubicBezTo>
                  <a:lnTo>
                    <a:pt x="323" y="0"/>
                  </a:lnTo>
                  <a:cubicBezTo>
                    <a:pt x="145" y="0"/>
                    <a:pt x="0" y="144"/>
                    <a:pt x="0" y="323"/>
                  </a:cubicBezTo>
                  <a:lnTo>
                    <a:pt x="0" y="892"/>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8">
              <a:extLst>
                <a:ext uri="{FF2B5EF4-FFF2-40B4-BE49-F238E27FC236}">
                  <a16:creationId xmlns:a16="http://schemas.microsoft.com/office/drawing/2014/main" id="{52705623-82E8-4E53-9B51-F6236612F38F}"/>
                </a:ext>
              </a:extLst>
            </p:cNvPr>
            <p:cNvSpPr>
              <a:spLocks/>
            </p:cNvSpPr>
            <p:nvPr/>
          </p:nvSpPr>
          <p:spPr bwMode="auto">
            <a:xfrm>
              <a:off x="4318001" y="2000250"/>
              <a:ext cx="1154113"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2"/>
                  </a:cubicBezTo>
                  <a:lnTo>
                    <a:pt x="3232" y="323"/>
                  </a:lnTo>
                  <a:cubicBezTo>
                    <a:pt x="3232" y="144"/>
                    <a:pt x="3088" y="0"/>
                    <a:pt x="2909" y="0"/>
                  </a:cubicBezTo>
                  <a:lnTo>
                    <a:pt x="323" y="0"/>
                  </a:lnTo>
                  <a:cubicBezTo>
                    <a:pt x="145" y="0"/>
                    <a:pt x="0" y="144"/>
                    <a:pt x="0" y="323"/>
                  </a:cubicBezTo>
                  <a:lnTo>
                    <a:pt x="0" y="892"/>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Rectangle 69">
              <a:extLst>
                <a:ext uri="{FF2B5EF4-FFF2-40B4-BE49-F238E27FC236}">
                  <a16:creationId xmlns:a16="http://schemas.microsoft.com/office/drawing/2014/main" id="{7A06C1E9-B0FD-45B8-8E14-092B5A2920AC}"/>
                </a:ext>
              </a:extLst>
            </p:cNvPr>
            <p:cNvSpPr>
              <a:spLocks noChangeArrowheads="1"/>
            </p:cNvSpPr>
            <p:nvPr/>
          </p:nvSpPr>
          <p:spPr bwMode="auto">
            <a:xfrm>
              <a:off x="4695826" y="2119313"/>
              <a:ext cx="5254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rPr>
                <a:t>Team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 name="Freeform 70">
              <a:extLst>
                <a:ext uri="{FF2B5EF4-FFF2-40B4-BE49-F238E27FC236}">
                  <a16:creationId xmlns:a16="http://schemas.microsoft.com/office/drawing/2014/main" id="{4361C7BC-CD79-4C6E-98AB-DCBDA81808BD}"/>
                </a:ext>
              </a:extLst>
            </p:cNvPr>
            <p:cNvSpPr>
              <a:spLocks/>
            </p:cNvSpPr>
            <p:nvPr/>
          </p:nvSpPr>
          <p:spPr bwMode="auto">
            <a:xfrm>
              <a:off x="4318001" y="2624138"/>
              <a:ext cx="1154113"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1">
              <a:extLst>
                <a:ext uri="{FF2B5EF4-FFF2-40B4-BE49-F238E27FC236}">
                  <a16:creationId xmlns:a16="http://schemas.microsoft.com/office/drawing/2014/main" id="{55446EA5-F36F-4470-8A5E-44FCEA748144}"/>
                </a:ext>
              </a:extLst>
            </p:cNvPr>
            <p:cNvSpPr>
              <a:spLocks/>
            </p:cNvSpPr>
            <p:nvPr/>
          </p:nvSpPr>
          <p:spPr bwMode="auto">
            <a:xfrm>
              <a:off x="4318001" y="2624138"/>
              <a:ext cx="1154113"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3"/>
                  </a:lnTo>
                  <a:cubicBezTo>
                    <a:pt x="3232" y="145"/>
                    <a:pt x="3088" y="0"/>
                    <a:pt x="2909" y="0"/>
                  </a:cubicBezTo>
                  <a:lnTo>
                    <a:pt x="323" y="0"/>
                  </a:lnTo>
                  <a:cubicBezTo>
                    <a:pt x="145" y="0"/>
                    <a:pt x="0" y="145"/>
                    <a:pt x="0" y="323"/>
                  </a:cubicBezTo>
                  <a:lnTo>
                    <a:pt x="0" y="893"/>
                  </a:lnTo>
                  <a:cubicBezTo>
                    <a:pt x="0" y="1072"/>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Rectangle 72">
              <a:extLst>
                <a:ext uri="{FF2B5EF4-FFF2-40B4-BE49-F238E27FC236}">
                  <a16:creationId xmlns:a16="http://schemas.microsoft.com/office/drawing/2014/main" id="{4DC1B6C8-E5C5-47DA-AB66-F73A7B42E085}"/>
                </a:ext>
              </a:extLst>
            </p:cNvPr>
            <p:cNvSpPr>
              <a:spLocks noChangeArrowheads="1"/>
            </p:cNvSpPr>
            <p:nvPr/>
          </p:nvSpPr>
          <p:spPr bwMode="auto">
            <a:xfrm>
              <a:off x="4424363" y="2755900"/>
              <a:ext cx="1023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Power Auto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 name="Rectangle 73">
              <a:extLst>
                <a:ext uri="{FF2B5EF4-FFF2-40B4-BE49-F238E27FC236}">
                  <a16:creationId xmlns:a16="http://schemas.microsoft.com/office/drawing/2014/main" id="{F8562940-D87E-4F0F-B9E7-C950CE056E85}"/>
                </a:ext>
              </a:extLst>
            </p:cNvPr>
            <p:cNvSpPr>
              <a:spLocks noChangeArrowheads="1"/>
            </p:cNvSpPr>
            <p:nvPr/>
          </p:nvSpPr>
          <p:spPr bwMode="auto">
            <a:xfrm>
              <a:off x="3521076" y="2062163"/>
              <a:ext cx="447675"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offic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 name="Rectangle 74">
              <a:extLst>
                <a:ext uri="{FF2B5EF4-FFF2-40B4-BE49-F238E27FC236}">
                  <a16:creationId xmlns:a16="http://schemas.microsoft.com/office/drawing/2014/main" id="{E2809DDC-A6B4-48BD-BCDA-AF3E82ADA2C5}"/>
                </a:ext>
              </a:extLst>
            </p:cNvPr>
            <p:cNvSpPr>
              <a:spLocks noChangeArrowheads="1"/>
            </p:cNvSpPr>
            <p:nvPr/>
          </p:nvSpPr>
          <p:spPr bwMode="auto">
            <a:xfrm>
              <a:off x="3348038" y="2211388"/>
              <a:ext cx="8064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collaborate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75">
              <a:extLst>
                <a:ext uri="{FF2B5EF4-FFF2-40B4-BE49-F238E27FC236}">
                  <a16:creationId xmlns:a16="http://schemas.microsoft.com/office/drawing/2014/main" id="{1EAEA120-122E-4EC6-9D84-341894A36E00}"/>
                </a:ext>
              </a:extLst>
            </p:cNvPr>
            <p:cNvSpPr>
              <a:spLocks noChangeArrowheads="1"/>
            </p:cNvSpPr>
            <p:nvPr/>
          </p:nvSpPr>
          <p:spPr bwMode="auto">
            <a:xfrm>
              <a:off x="3302001" y="2682875"/>
              <a:ext cx="846138"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000000"/>
                  </a:solidFill>
                  <a:effectLst/>
                  <a:latin typeface="Segoe UI" panose="020B0502040204020203" pitchFamily="34" charset="0"/>
                </a:rPr>
                <a:t>officers laun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9" name="Rectangle 76">
              <a:extLst>
                <a:ext uri="{FF2B5EF4-FFF2-40B4-BE49-F238E27FC236}">
                  <a16:creationId xmlns:a16="http://schemas.microsoft.com/office/drawing/2014/main" id="{8A002FCD-FD27-4174-B3C2-E324358B73CD}"/>
                </a:ext>
              </a:extLst>
            </p:cNvPr>
            <p:cNvSpPr>
              <a:spLocks noChangeArrowheads="1"/>
            </p:cNvSpPr>
            <p:nvPr/>
          </p:nvSpPr>
          <p:spPr bwMode="auto">
            <a:xfrm>
              <a:off x="3365501" y="2832100"/>
              <a:ext cx="72072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actions wit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0" name="Freeform 77">
              <a:extLst>
                <a:ext uri="{FF2B5EF4-FFF2-40B4-BE49-F238E27FC236}">
                  <a16:creationId xmlns:a16="http://schemas.microsoft.com/office/drawing/2014/main" id="{2A8DA976-8172-4086-9BC2-E5C94595785D}"/>
                </a:ext>
              </a:extLst>
            </p:cNvPr>
            <p:cNvSpPr>
              <a:spLocks noEditPoints="1"/>
            </p:cNvSpPr>
            <p:nvPr/>
          </p:nvSpPr>
          <p:spPr bwMode="auto">
            <a:xfrm>
              <a:off x="3200401" y="2835275"/>
              <a:ext cx="995363" cy="755650"/>
            </a:xfrm>
            <a:custGeom>
              <a:avLst/>
              <a:gdLst>
                <a:gd name="T0" fmla="*/ 0 w 2786"/>
                <a:gd name="T1" fmla="*/ 1870 h 2110"/>
                <a:gd name="T2" fmla="*/ 32 w 2786"/>
                <a:gd name="T3" fmla="*/ 1870 h 2110"/>
                <a:gd name="T4" fmla="*/ 16 w 2786"/>
                <a:gd name="T5" fmla="*/ 2110 h 2110"/>
                <a:gd name="T6" fmla="*/ 0 w 2786"/>
                <a:gd name="T7" fmla="*/ 1710 h 2110"/>
                <a:gd name="T8" fmla="*/ 16 w 2786"/>
                <a:gd name="T9" fmla="*/ 1470 h 2110"/>
                <a:gd name="T10" fmla="*/ 32 w 2786"/>
                <a:gd name="T11" fmla="*/ 1710 h 2110"/>
                <a:gd name="T12" fmla="*/ 0 w 2786"/>
                <a:gd name="T13" fmla="*/ 1710 h 2110"/>
                <a:gd name="T14" fmla="*/ 0 w 2786"/>
                <a:gd name="T15" fmla="*/ 1102 h 2110"/>
                <a:gd name="T16" fmla="*/ 32 w 2786"/>
                <a:gd name="T17" fmla="*/ 1102 h 2110"/>
                <a:gd name="T18" fmla="*/ 16 w 2786"/>
                <a:gd name="T19" fmla="*/ 1342 h 2110"/>
                <a:gd name="T20" fmla="*/ 0 w 2786"/>
                <a:gd name="T21" fmla="*/ 942 h 2110"/>
                <a:gd name="T22" fmla="*/ 16 w 2786"/>
                <a:gd name="T23" fmla="*/ 702 h 2110"/>
                <a:gd name="T24" fmla="*/ 32 w 2786"/>
                <a:gd name="T25" fmla="*/ 942 h 2110"/>
                <a:gd name="T26" fmla="*/ 0 w 2786"/>
                <a:gd name="T27" fmla="*/ 942 h 2110"/>
                <a:gd name="T28" fmla="*/ 0 w 2786"/>
                <a:gd name="T29" fmla="*/ 334 h 2110"/>
                <a:gd name="T30" fmla="*/ 32 w 2786"/>
                <a:gd name="T31" fmla="*/ 334 h 2110"/>
                <a:gd name="T32" fmla="*/ 16 w 2786"/>
                <a:gd name="T33" fmla="*/ 574 h 2110"/>
                <a:gd name="T34" fmla="*/ 0 w 2786"/>
                <a:gd name="T35" fmla="*/ 174 h 2110"/>
                <a:gd name="T36" fmla="*/ 16 w 2786"/>
                <a:gd name="T37" fmla="*/ 0 h 2110"/>
                <a:gd name="T38" fmla="*/ 98 w 2786"/>
                <a:gd name="T39" fmla="*/ 16 h 2110"/>
                <a:gd name="T40" fmla="*/ 16 w 2786"/>
                <a:gd name="T41" fmla="*/ 32 h 2110"/>
                <a:gd name="T42" fmla="*/ 32 w 2786"/>
                <a:gd name="T43" fmla="*/ 174 h 2110"/>
                <a:gd name="T44" fmla="*/ 0 w 2786"/>
                <a:gd name="T45" fmla="*/ 174 h 2110"/>
                <a:gd name="T46" fmla="*/ 466 w 2786"/>
                <a:gd name="T47" fmla="*/ 0 h 2110"/>
                <a:gd name="T48" fmla="*/ 466 w 2786"/>
                <a:gd name="T49" fmla="*/ 32 h 2110"/>
                <a:gd name="T50" fmla="*/ 226 w 2786"/>
                <a:gd name="T51" fmla="*/ 16 h 2110"/>
                <a:gd name="T52" fmla="*/ 626 w 2786"/>
                <a:gd name="T53" fmla="*/ 0 h 2110"/>
                <a:gd name="T54" fmla="*/ 866 w 2786"/>
                <a:gd name="T55" fmla="*/ 16 h 2110"/>
                <a:gd name="T56" fmla="*/ 626 w 2786"/>
                <a:gd name="T57" fmla="*/ 32 h 2110"/>
                <a:gd name="T58" fmla="*/ 626 w 2786"/>
                <a:gd name="T59" fmla="*/ 0 h 2110"/>
                <a:gd name="T60" fmla="*/ 1234 w 2786"/>
                <a:gd name="T61" fmla="*/ 0 h 2110"/>
                <a:gd name="T62" fmla="*/ 1234 w 2786"/>
                <a:gd name="T63" fmla="*/ 32 h 2110"/>
                <a:gd name="T64" fmla="*/ 994 w 2786"/>
                <a:gd name="T65" fmla="*/ 16 h 2110"/>
                <a:gd name="T66" fmla="*/ 1394 w 2786"/>
                <a:gd name="T67" fmla="*/ 0 h 2110"/>
                <a:gd name="T68" fmla="*/ 1634 w 2786"/>
                <a:gd name="T69" fmla="*/ 16 h 2110"/>
                <a:gd name="T70" fmla="*/ 1394 w 2786"/>
                <a:gd name="T71" fmla="*/ 32 h 2110"/>
                <a:gd name="T72" fmla="*/ 1394 w 2786"/>
                <a:gd name="T73" fmla="*/ 0 h 2110"/>
                <a:gd name="T74" fmla="*/ 2002 w 2786"/>
                <a:gd name="T75" fmla="*/ 0 h 2110"/>
                <a:gd name="T76" fmla="*/ 2002 w 2786"/>
                <a:gd name="T77" fmla="*/ 32 h 2110"/>
                <a:gd name="T78" fmla="*/ 1762 w 2786"/>
                <a:gd name="T79" fmla="*/ 16 h 2110"/>
                <a:gd name="T80" fmla="*/ 2162 w 2786"/>
                <a:gd name="T81" fmla="*/ 0 h 2110"/>
                <a:gd name="T82" fmla="*/ 2402 w 2786"/>
                <a:gd name="T83" fmla="*/ 16 h 2110"/>
                <a:gd name="T84" fmla="*/ 2162 w 2786"/>
                <a:gd name="T85" fmla="*/ 32 h 2110"/>
                <a:gd name="T86" fmla="*/ 2162 w 2786"/>
                <a:gd name="T87" fmla="*/ 0 h 2110"/>
                <a:gd name="T88" fmla="*/ 2770 w 2786"/>
                <a:gd name="T89" fmla="*/ 0 h 2110"/>
                <a:gd name="T90" fmla="*/ 2770 w 2786"/>
                <a:gd name="T91" fmla="*/ 32 h 2110"/>
                <a:gd name="T92" fmla="*/ 2530 w 2786"/>
                <a:gd name="T93" fmla="*/ 16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6" h="2110">
                  <a:moveTo>
                    <a:pt x="0" y="2094"/>
                  </a:moveTo>
                  <a:lnTo>
                    <a:pt x="0" y="1870"/>
                  </a:lnTo>
                  <a:cubicBezTo>
                    <a:pt x="0" y="1861"/>
                    <a:pt x="7" y="1854"/>
                    <a:pt x="16" y="1854"/>
                  </a:cubicBezTo>
                  <a:cubicBezTo>
                    <a:pt x="25" y="1854"/>
                    <a:pt x="32" y="1861"/>
                    <a:pt x="32" y="1870"/>
                  </a:cubicBezTo>
                  <a:lnTo>
                    <a:pt x="32" y="2094"/>
                  </a:lnTo>
                  <a:cubicBezTo>
                    <a:pt x="32" y="2103"/>
                    <a:pt x="25" y="2110"/>
                    <a:pt x="16" y="2110"/>
                  </a:cubicBezTo>
                  <a:cubicBezTo>
                    <a:pt x="7" y="2110"/>
                    <a:pt x="0" y="2103"/>
                    <a:pt x="0" y="2094"/>
                  </a:cubicBezTo>
                  <a:close/>
                  <a:moveTo>
                    <a:pt x="0" y="1710"/>
                  </a:moveTo>
                  <a:lnTo>
                    <a:pt x="0" y="1486"/>
                  </a:lnTo>
                  <a:cubicBezTo>
                    <a:pt x="0" y="1477"/>
                    <a:pt x="7" y="1470"/>
                    <a:pt x="16" y="1470"/>
                  </a:cubicBezTo>
                  <a:cubicBezTo>
                    <a:pt x="25" y="1470"/>
                    <a:pt x="32" y="1477"/>
                    <a:pt x="32" y="1486"/>
                  </a:cubicBezTo>
                  <a:lnTo>
                    <a:pt x="32" y="1710"/>
                  </a:lnTo>
                  <a:cubicBezTo>
                    <a:pt x="32" y="1719"/>
                    <a:pt x="25" y="1726"/>
                    <a:pt x="16" y="1726"/>
                  </a:cubicBezTo>
                  <a:cubicBezTo>
                    <a:pt x="7" y="1726"/>
                    <a:pt x="0" y="1719"/>
                    <a:pt x="0" y="1710"/>
                  </a:cubicBezTo>
                  <a:close/>
                  <a:moveTo>
                    <a:pt x="0" y="1326"/>
                  </a:moveTo>
                  <a:lnTo>
                    <a:pt x="0" y="1102"/>
                  </a:lnTo>
                  <a:cubicBezTo>
                    <a:pt x="0" y="1093"/>
                    <a:pt x="7" y="1086"/>
                    <a:pt x="16" y="1086"/>
                  </a:cubicBezTo>
                  <a:cubicBezTo>
                    <a:pt x="25" y="1086"/>
                    <a:pt x="32" y="1093"/>
                    <a:pt x="32" y="1102"/>
                  </a:cubicBezTo>
                  <a:lnTo>
                    <a:pt x="32" y="1326"/>
                  </a:lnTo>
                  <a:cubicBezTo>
                    <a:pt x="32" y="1335"/>
                    <a:pt x="25" y="1342"/>
                    <a:pt x="16" y="1342"/>
                  </a:cubicBezTo>
                  <a:cubicBezTo>
                    <a:pt x="7" y="1342"/>
                    <a:pt x="0" y="1335"/>
                    <a:pt x="0" y="1326"/>
                  </a:cubicBezTo>
                  <a:close/>
                  <a:moveTo>
                    <a:pt x="0" y="942"/>
                  </a:moveTo>
                  <a:lnTo>
                    <a:pt x="0" y="718"/>
                  </a:lnTo>
                  <a:cubicBezTo>
                    <a:pt x="0" y="709"/>
                    <a:pt x="7" y="702"/>
                    <a:pt x="16" y="702"/>
                  </a:cubicBezTo>
                  <a:cubicBezTo>
                    <a:pt x="25" y="702"/>
                    <a:pt x="32" y="709"/>
                    <a:pt x="32" y="718"/>
                  </a:cubicBezTo>
                  <a:lnTo>
                    <a:pt x="32" y="942"/>
                  </a:lnTo>
                  <a:cubicBezTo>
                    <a:pt x="32" y="951"/>
                    <a:pt x="25" y="958"/>
                    <a:pt x="16" y="958"/>
                  </a:cubicBezTo>
                  <a:cubicBezTo>
                    <a:pt x="7" y="958"/>
                    <a:pt x="0" y="951"/>
                    <a:pt x="0" y="942"/>
                  </a:cubicBezTo>
                  <a:close/>
                  <a:moveTo>
                    <a:pt x="0" y="558"/>
                  </a:moveTo>
                  <a:lnTo>
                    <a:pt x="0" y="334"/>
                  </a:lnTo>
                  <a:cubicBezTo>
                    <a:pt x="0" y="325"/>
                    <a:pt x="7" y="318"/>
                    <a:pt x="16" y="318"/>
                  </a:cubicBezTo>
                  <a:cubicBezTo>
                    <a:pt x="25" y="318"/>
                    <a:pt x="32" y="325"/>
                    <a:pt x="32" y="334"/>
                  </a:cubicBezTo>
                  <a:lnTo>
                    <a:pt x="32" y="558"/>
                  </a:lnTo>
                  <a:cubicBezTo>
                    <a:pt x="32" y="567"/>
                    <a:pt x="25" y="574"/>
                    <a:pt x="16" y="574"/>
                  </a:cubicBezTo>
                  <a:cubicBezTo>
                    <a:pt x="7" y="574"/>
                    <a:pt x="0" y="567"/>
                    <a:pt x="0" y="558"/>
                  </a:cubicBezTo>
                  <a:close/>
                  <a:moveTo>
                    <a:pt x="0" y="174"/>
                  </a:moveTo>
                  <a:lnTo>
                    <a:pt x="0" y="16"/>
                  </a:lnTo>
                  <a:cubicBezTo>
                    <a:pt x="0" y="7"/>
                    <a:pt x="7" y="0"/>
                    <a:pt x="16" y="0"/>
                  </a:cubicBezTo>
                  <a:lnTo>
                    <a:pt x="82" y="0"/>
                  </a:lnTo>
                  <a:cubicBezTo>
                    <a:pt x="91" y="0"/>
                    <a:pt x="98" y="7"/>
                    <a:pt x="98" y="16"/>
                  </a:cubicBezTo>
                  <a:cubicBezTo>
                    <a:pt x="98" y="25"/>
                    <a:pt x="91" y="32"/>
                    <a:pt x="82" y="32"/>
                  </a:cubicBezTo>
                  <a:lnTo>
                    <a:pt x="16" y="32"/>
                  </a:lnTo>
                  <a:lnTo>
                    <a:pt x="32" y="16"/>
                  </a:lnTo>
                  <a:lnTo>
                    <a:pt x="32" y="174"/>
                  </a:lnTo>
                  <a:cubicBezTo>
                    <a:pt x="32" y="183"/>
                    <a:pt x="25" y="190"/>
                    <a:pt x="16" y="190"/>
                  </a:cubicBezTo>
                  <a:cubicBezTo>
                    <a:pt x="7" y="190"/>
                    <a:pt x="0" y="183"/>
                    <a:pt x="0" y="174"/>
                  </a:cubicBezTo>
                  <a:close/>
                  <a:moveTo>
                    <a:pt x="242" y="0"/>
                  </a:moveTo>
                  <a:lnTo>
                    <a:pt x="466" y="0"/>
                  </a:lnTo>
                  <a:cubicBezTo>
                    <a:pt x="475" y="0"/>
                    <a:pt x="482" y="7"/>
                    <a:pt x="482" y="16"/>
                  </a:cubicBezTo>
                  <a:cubicBezTo>
                    <a:pt x="482" y="25"/>
                    <a:pt x="475" y="32"/>
                    <a:pt x="466" y="32"/>
                  </a:cubicBezTo>
                  <a:lnTo>
                    <a:pt x="242" y="32"/>
                  </a:lnTo>
                  <a:cubicBezTo>
                    <a:pt x="233" y="32"/>
                    <a:pt x="226" y="25"/>
                    <a:pt x="226" y="16"/>
                  </a:cubicBezTo>
                  <a:cubicBezTo>
                    <a:pt x="226" y="7"/>
                    <a:pt x="233" y="0"/>
                    <a:pt x="242" y="0"/>
                  </a:cubicBezTo>
                  <a:close/>
                  <a:moveTo>
                    <a:pt x="626" y="0"/>
                  </a:moveTo>
                  <a:lnTo>
                    <a:pt x="850" y="0"/>
                  </a:lnTo>
                  <a:cubicBezTo>
                    <a:pt x="859" y="0"/>
                    <a:pt x="866" y="7"/>
                    <a:pt x="866" y="16"/>
                  </a:cubicBezTo>
                  <a:cubicBezTo>
                    <a:pt x="866" y="25"/>
                    <a:pt x="859" y="32"/>
                    <a:pt x="850" y="32"/>
                  </a:cubicBezTo>
                  <a:lnTo>
                    <a:pt x="626" y="32"/>
                  </a:lnTo>
                  <a:cubicBezTo>
                    <a:pt x="617" y="32"/>
                    <a:pt x="610" y="25"/>
                    <a:pt x="610" y="16"/>
                  </a:cubicBezTo>
                  <a:cubicBezTo>
                    <a:pt x="610" y="7"/>
                    <a:pt x="617" y="0"/>
                    <a:pt x="626" y="0"/>
                  </a:cubicBezTo>
                  <a:close/>
                  <a:moveTo>
                    <a:pt x="1010" y="0"/>
                  </a:moveTo>
                  <a:lnTo>
                    <a:pt x="1234" y="0"/>
                  </a:lnTo>
                  <a:cubicBezTo>
                    <a:pt x="1243" y="0"/>
                    <a:pt x="1250" y="7"/>
                    <a:pt x="1250" y="16"/>
                  </a:cubicBezTo>
                  <a:cubicBezTo>
                    <a:pt x="1250" y="25"/>
                    <a:pt x="1243" y="32"/>
                    <a:pt x="1234" y="32"/>
                  </a:cubicBezTo>
                  <a:lnTo>
                    <a:pt x="1010" y="32"/>
                  </a:lnTo>
                  <a:cubicBezTo>
                    <a:pt x="1001" y="32"/>
                    <a:pt x="994" y="25"/>
                    <a:pt x="994" y="16"/>
                  </a:cubicBezTo>
                  <a:cubicBezTo>
                    <a:pt x="994" y="7"/>
                    <a:pt x="1001" y="0"/>
                    <a:pt x="1010" y="0"/>
                  </a:cubicBezTo>
                  <a:close/>
                  <a:moveTo>
                    <a:pt x="1394" y="0"/>
                  </a:moveTo>
                  <a:lnTo>
                    <a:pt x="1618" y="0"/>
                  </a:lnTo>
                  <a:cubicBezTo>
                    <a:pt x="1627" y="0"/>
                    <a:pt x="1634" y="7"/>
                    <a:pt x="1634" y="16"/>
                  </a:cubicBezTo>
                  <a:cubicBezTo>
                    <a:pt x="1634" y="25"/>
                    <a:pt x="1627" y="32"/>
                    <a:pt x="1618" y="32"/>
                  </a:cubicBezTo>
                  <a:lnTo>
                    <a:pt x="1394" y="32"/>
                  </a:lnTo>
                  <a:cubicBezTo>
                    <a:pt x="1385" y="32"/>
                    <a:pt x="1378" y="25"/>
                    <a:pt x="1378" y="16"/>
                  </a:cubicBezTo>
                  <a:cubicBezTo>
                    <a:pt x="1378" y="7"/>
                    <a:pt x="1385" y="0"/>
                    <a:pt x="1394" y="0"/>
                  </a:cubicBezTo>
                  <a:close/>
                  <a:moveTo>
                    <a:pt x="1778" y="0"/>
                  </a:moveTo>
                  <a:lnTo>
                    <a:pt x="2002" y="0"/>
                  </a:lnTo>
                  <a:cubicBezTo>
                    <a:pt x="2011" y="0"/>
                    <a:pt x="2018" y="7"/>
                    <a:pt x="2018" y="16"/>
                  </a:cubicBezTo>
                  <a:cubicBezTo>
                    <a:pt x="2018" y="25"/>
                    <a:pt x="2011" y="32"/>
                    <a:pt x="2002" y="32"/>
                  </a:cubicBezTo>
                  <a:lnTo>
                    <a:pt x="1778" y="32"/>
                  </a:lnTo>
                  <a:cubicBezTo>
                    <a:pt x="1769" y="32"/>
                    <a:pt x="1762" y="25"/>
                    <a:pt x="1762" y="16"/>
                  </a:cubicBezTo>
                  <a:cubicBezTo>
                    <a:pt x="1762" y="7"/>
                    <a:pt x="1769" y="0"/>
                    <a:pt x="1778" y="0"/>
                  </a:cubicBezTo>
                  <a:close/>
                  <a:moveTo>
                    <a:pt x="2162" y="0"/>
                  </a:moveTo>
                  <a:lnTo>
                    <a:pt x="2386" y="0"/>
                  </a:lnTo>
                  <a:cubicBezTo>
                    <a:pt x="2395" y="0"/>
                    <a:pt x="2402" y="7"/>
                    <a:pt x="2402" y="16"/>
                  </a:cubicBezTo>
                  <a:cubicBezTo>
                    <a:pt x="2402" y="25"/>
                    <a:pt x="2395" y="32"/>
                    <a:pt x="2386" y="32"/>
                  </a:cubicBezTo>
                  <a:lnTo>
                    <a:pt x="2162" y="32"/>
                  </a:lnTo>
                  <a:cubicBezTo>
                    <a:pt x="2153" y="32"/>
                    <a:pt x="2146" y="25"/>
                    <a:pt x="2146" y="16"/>
                  </a:cubicBezTo>
                  <a:cubicBezTo>
                    <a:pt x="2146" y="7"/>
                    <a:pt x="2153" y="0"/>
                    <a:pt x="2162" y="0"/>
                  </a:cubicBezTo>
                  <a:close/>
                  <a:moveTo>
                    <a:pt x="2546" y="0"/>
                  </a:moveTo>
                  <a:lnTo>
                    <a:pt x="2770" y="0"/>
                  </a:lnTo>
                  <a:cubicBezTo>
                    <a:pt x="2779" y="0"/>
                    <a:pt x="2786" y="7"/>
                    <a:pt x="2786" y="16"/>
                  </a:cubicBezTo>
                  <a:cubicBezTo>
                    <a:pt x="2786" y="25"/>
                    <a:pt x="2779" y="32"/>
                    <a:pt x="2770" y="32"/>
                  </a:cubicBezTo>
                  <a:lnTo>
                    <a:pt x="2546" y="32"/>
                  </a:lnTo>
                  <a:cubicBezTo>
                    <a:pt x="2537" y="32"/>
                    <a:pt x="2530" y="25"/>
                    <a:pt x="2530" y="16"/>
                  </a:cubicBezTo>
                  <a:cubicBezTo>
                    <a:pt x="2530" y="7"/>
                    <a:pt x="2537" y="0"/>
                    <a:pt x="254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
              <a:extLst>
                <a:ext uri="{FF2B5EF4-FFF2-40B4-BE49-F238E27FC236}">
                  <a16:creationId xmlns:a16="http://schemas.microsoft.com/office/drawing/2014/main" id="{E63FA5D5-FBB8-4BA5-8CC7-2A378C6D1D7A}"/>
                </a:ext>
              </a:extLst>
            </p:cNvPr>
            <p:cNvSpPr>
              <a:spLocks/>
            </p:cNvSpPr>
            <p:nvPr/>
          </p:nvSpPr>
          <p:spPr bwMode="auto">
            <a:xfrm>
              <a:off x="4217988" y="2792413"/>
              <a:ext cx="100013" cy="98425"/>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9">
              <a:extLst>
                <a:ext uri="{FF2B5EF4-FFF2-40B4-BE49-F238E27FC236}">
                  <a16:creationId xmlns:a16="http://schemas.microsoft.com/office/drawing/2014/main" id="{AF313705-0BC1-4FFD-AEDA-83EA3481880F}"/>
                </a:ext>
              </a:extLst>
            </p:cNvPr>
            <p:cNvSpPr>
              <a:spLocks noEditPoints="1"/>
            </p:cNvSpPr>
            <p:nvPr/>
          </p:nvSpPr>
          <p:spPr bwMode="auto">
            <a:xfrm>
              <a:off x="3200401" y="2212975"/>
              <a:ext cx="1047750" cy="1377950"/>
            </a:xfrm>
            <a:custGeom>
              <a:avLst/>
              <a:gdLst>
                <a:gd name="T0" fmla="*/ 0 w 2932"/>
                <a:gd name="T1" fmla="*/ 3613 h 3853"/>
                <a:gd name="T2" fmla="*/ 32 w 2932"/>
                <a:gd name="T3" fmla="*/ 3613 h 3853"/>
                <a:gd name="T4" fmla="*/ 16 w 2932"/>
                <a:gd name="T5" fmla="*/ 3853 h 3853"/>
                <a:gd name="T6" fmla="*/ 0 w 2932"/>
                <a:gd name="T7" fmla="*/ 3453 h 3853"/>
                <a:gd name="T8" fmla="*/ 16 w 2932"/>
                <a:gd name="T9" fmla="*/ 3213 h 3853"/>
                <a:gd name="T10" fmla="*/ 32 w 2932"/>
                <a:gd name="T11" fmla="*/ 3453 h 3853"/>
                <a:gd name="T12" fmla="*/ 0 w 2932"/>
                <a:gd name="T13" fmla="*/ 3453 h 3853"/>
                <a:gd name="T14" fmla="*/ 0 w 2932"/>
                <a:gd name="T15" fmla="*/ 2845 h 3853"/>
                <a:gd name="T16" fmla="*/ 32 w 2932"/>
                <a:gd name="T17" fmla="*/ 2845 h 3853"/>
                <a:gd name="T18" fmla="*/ 16 w 2932"/>
                <a:gd name="T19" fmla="*/ 3085 h 3853"/>
                <a:gd name="T20" fmla="*/ 0 w 2932"/>
                <a:gd name="T21" fmla="*/ 2685 h 3853"/>
                <a:gd name="T22" fmla="*/ 16 w 2932"/>
                <a:gd name="T23" fmla="*/ 2445 h 3853"/>
                <a:gd name="T24" fmla="*/ 32 w 2932"/>
                <a:gd name="T25" fmla="*/ 2685 h 3853"/>
                <a:gd name="T26" fmla="*/ 0 w 2932"/>
                <a:gd name="T27" fmla="*/ 2685 h 3853"/>
                <a:gd name="T28" fmla="*/ 0 w 2932"/>
                <a:gd name="T29" fmla="*/ 2077 h 3853"/>
                <a:gd name="T30" fmla="*/ 32 w 2932"/>
                <a:gd name="T31" fmla="*/ 2077 h 3853"/>
                <a:gd name="T32" fmla="*/ 16 w 2932"/>
                <a:gd name="T33" fmla="*/ 2317 h 3853"/>
                <a:gd name="T34" fmla="*/ 0 w 2932"/>
                <a:gd name="T35" fmla="*/ 1917 h 3853"/>
                <a:gd name="T36" fmla="*/ 16 w 2932"/>
                <a:gd name="T37" fmla="*/ 1677 h 3853"/>
                <a:gd name="T38" fmla="*/ 32 w 2932"/>
                <a:gd name="T39" fmla="*/ 1917 h 3853"/>
                <a:gd name="T40" fmla="*/ 0 w 2932"/>
                <a:gd name="T41" fmla="*/ 1917 h 3853"/>
                <a:gd name="T42" fmla="*/ 0 w 2932"/>
                <a:gd name="T43" fmla="*/ 1309 h 3853"/>
                <a:gd name="T44" fmla="*/ 32 w 2932"/>
                <a:gd name="T45" fmla="*/ 1309 h 3853"/>
                <a:gd name="T46" fmla="*/ 16 w 2932"/>
                <a:gd name="T47" fmla="*/ 1549 h 3853"/>
                <a:gd name="T48" fmla="*/ 0 w 2932"/>
                <a:gd name="T49" fmla="*/ 1149 h 3853"/>
                <a:gd name="T50" fmla="*/ 16 w 2932"/>
                <a:gd name="T51" fmla="*/ 909 h 3853"/>
                <a:gd name="T52" fmla="*/ 32 w 2932"/>
                <a:gd name="T53" fmla="*/ 1149 h 3853"/>
                <a:gd name="T54" fmla="*/ 0 w 2932"/>
                <a:gd name="T55" fmla="*/ 1149 h 3853"/>
                <a:gd name="T56" fmla="*/ 0 w 2932"/>
                <a:gd name="T57" fmla="*/ 541 h 3853"/>
                <a:gd name="T58" fmla="*/ 32 w 2932"/>
                <a:gd name="T59" fmla="*/ 541 h 3853"/>
                <a:gd name="T60" fmla="*/ 16 w 2932"/>
                <a:gd name="T61" fmla="*/ 781 h 3853"/>
                <a:gd name="T62" fmla="*/ 0 w 2932"/>
                <a:gd name="T63" fmla="*/ 381 h 3853"/>
                <a:gd name="T64" fmla="*/ 16 w 2932"/>
                <a:gd name="T65" fmla="*/ 141 h 3853"/>
                <a:gd name="T66" fmla="*/ 32 w 2932"/>
                <a:gd name="T67" fmla="*/ 381 h 3853"/>
                <a:gd name="T68" fmla="*/ 0 w 2932"/>
                <a:gd name="T69" fmla="*/ 381 h 3853"/>
                <a:gd name="T70" fmla="*/ 259 w 2932"/>
                <a:gd name="T71" fmla="*/ 0 h 3853"/>
                <a:gd name="T72" fmla="*/ 259 w 2932"/>
                <a:gd name="T73" fmla="*/ 32 h 3853"/>
                <a:gd name="T74" fmla="*/ 19 w 2932"/>
                <a:gd name="T75" fmla="*/ 16 h 3853"/>
                <a:gd name="T76" fmla="*/ 419 w 2932"/>
                <a:gd name="T77" fmla="*/ 0 h 3853"/>
                <a:gd name="T78" fmla="*/ 659 w 2932"/>
                <a:gd name="T79" fmla="*/ 16 h 3853"/>
                <a:gd name="T80" fmla="*/ 419 w 2932"/>
                <a:gd name="T81" fmla="*/ 32 h 3853"/>
                <a:gd name="T82" fmla="*/ 419 w 2932"/>
                <a:gd name="T83" fmla="*/ 0 h 3853"/>
                <a:gd name="T84" fmla="*/ 1027 w 2932"/>
                <a:gd name="T85" fmla="*/ 0 h 3853"/>
                <a:gd name="T86" fmla="*/ 1027 w 2932"/>
                <a:gd name="T87" fmla="*/ 32 h 3853"/>
                <a:gd name="T88" fmla="*/ 787 w 2932"/>
                <a:gd name="T89" fmla="*/ 16 h 3853"/>
                <a:gd name="T90" fmla="*/ 1187 w 2932"/>
                <a:gd name="T91" fmla="*/ 0 h 3853"/>
                <a:gd name="T92" fmla="*/ 1427 w 2932"/>
                <a:gd name="T93" fmla="*/ 16 h 3853"/>
                <a:gd name="T94" fmla="*/ 1187 w 2932"/>
                <a:gd name="T95" fmla="*/ 32 h 3853"/>
                <a:gd name="T96" fmla="*/ 1187 w 2932"/>
                <a:gd name="T97" fmla="*/ 0 h 3853"/>
                <a:gd name="T98" fmla="*/ 1795 w 2932"/>
                <a:gd name="T99" fmla="*/ 0 h 3853"/>
                <a:gd name="T100" fmla="*/ 1795 w 2932"/>
                <a:gd name="T101" fmla="*/ 32 h 3853"/>
                <a:gd name="T102" fmla="*/ 1555 w 2932"/>
                <a:gd name="T103" fmla="*/ 16 h 3853"/>
                <a:gd name="T104" fmla="*/ 1955 w 2932"/>
                <a:gd name="T105" fmla="*/ 0 h 3853"/>
                <a:gd name="T106" fmla="*/ 2195 w 2932"/>
                <a:gd name="T107" fmla="*/ 16 h 3853"/>
                <a:gd name="T108" fmla="*/ 1955 w 2932"/>
                <a:gd name="T109" fmla="*/ 32 h 3853"/>
                <a:gd name="T110" fmla="*/ 1955 w 2932"/>
                <a:gd name="T111" fmla="*/ 0 h 3853"/>
                <a:gd name="T112" fmla="*/ 2563 w 2932"/>
                <a:gd name="T113" fmla="*/ 0 h 3853"/>
                <a:gd name="T114" fmla="*/ 2563 w 2932"/>
                <a:gd name="T115" fmla="*/ 32 h 3853"/>
                <a:gd name="T116" fmla="*/ 2323 w 2932"/>
                <a:gd name="T117" fmla="*/ 16 h 3853"/>
                <a:gd name="T118" fmla="*/ 2723 w 2932"/>
                <a:gd name="T119" fmla="*/ 0 h 3853"/>
                <a:gd name="T120" fmla="*/ 2932 w 2932"/>
                <a:gd name="T121" fmla="*/ 16 h 3853"/>
                <a:gd name="T122" fmla="*/ 2723 w 2932"/>
                <a:gd name="T123" fmla="*/ 32 h 3853"/>
                <a:gd name="T124" fmla="*/ 2723 w 2932"/>
                <a:gd name="T125" fmla="*/ 0 h 3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2" h="3853">
                  <a:moveTo>
                    <a:pt x="0" y="3837"/>
                  </a:moveTo>
                  <a:lnTo>
                    <a:pt x="0" y="3613"/>
                  </a:lnTo>
                  <a:cubicBezTo>
                    <a:pt x="0" y="3604"/>
                    <a:pt x="7" y="3597"/>
                    <a:pt x="16" y="3597"/>
                  </a:cubicBezTo>
                  <a:cubicBezTo>
                    <a:pt x="25" y="3597"/>
                    <a:pt x="32" y="3604"/>
                    <a:pt x="32" y="3613"/>
                  </a:cubicBezTo>
                  <a:lnTo>
                    <a:pt x="32" y="3837"/>
                  </a:lnTo>
                  <a:cubicBezTo>
                    <a:pt x="32" y="3846"/>
                    <a:pt x="25" y="3853"/>
                    <a:pt x="16" y="3853"/>
                  </a:cubicBezTo>
                  <a:cubicBezTo>
                    <a:pt x="7" y="3853"/>
                    <a:pt x="0" y="3846"/>
                    <a:pt x="0" y="3837"/>
                  </a:cubicBezTo>
                  <a:close/>
                  <a:moveTo>
                    <a:pt x="0" y="3453"/>
                  </a:moveTo>
                  <a:lnTo>
                    <a:pt x="0" y="3229"/>
                  </a:lnTo>
                  <a:cubicBezTo>
                    <a:pt x="0" y="3220"/>
                    <a:pt x="7" y="3213"/>
                    <a:pt x="16" y="3213"/>
                  </a:cubicBezTo>
                  <a:cubicBezTo>
                    <a:pt x="25" y="3213"/>
                    <a:pt x="32" y="3220"/>
                    <a:pt x="32" y="3229"/>
                  </a:cubicBezTo>
                  <a:lnTo>
                    <a:pt x="32" y="3453"/>
                  </a:lnTo>
                  <a:cubicBezTo>
                    <a:pt x="32" y="3462"/>
                    <a:pt x="25" y="3469"/>
                    <a:pt x="16" y="3469"/>
                  </a:cubicBezTo>
                  <a:cubicBezTo>
                    <a:pt x="7" y="3469"/>
                    <a:pt x="0" y="3462"/>
                    <a:pt x="0" y="3453"/>
                  </a:cubicBezTo>
                  <a:close/>
                  <a:moveTo>
                    <a:pt x="0" y="3069"/>
                  </a:moveTo>
                  <a:lnTo>
                    <a:pt x="0" y="2845"/>
                  </a:lnTo>
                  <a:cubicBezTo>
                    <a:pt x="0" y="2836"/>
                    <a:pt x="7" y="2829"/>
                    <a:pt x="16" y="2829"/>
                  </a:cubicBezTo>
                  <a:cubicBezTo>
                    <a:pt x="25" y="2829"/>
                    <a:pt x="32" y="2836"/>
                    <a:pt x="32" y="2845"/>
                  </a:cubicBezTo>
                  <a:lnTo>
                    <a:pt x="32" y="3069"/>
                  </a:lnTo>
                  <a:cubicBezTo>
                    <a:pt x="32" y="3078"/>
                    <a:pt x="25" y="3085"/>
                    <a:pt x="16" y="3085"/>
                  </a:cubicBezTo>
                  <a:cubicBezTo>
                    <a:pt x="7" y="3085"/>
                    <a:pt x="0" y="3078"/>
                    <a:pt x="0" y="3069"/>
                  </a:cubicBezTo>
                  <a:close/>
                  <a:moveTo>
                    <a:pt x="0" y="2685"/>
                  </a:moveTo>
                  <a:lnTo>
                    <a:pt x="0" y="2461"/>
                  </a:lnTo>
                  <a:cubicBezTo>
                    <a:pt x="0" y="2452"/>
                    <a:pt x="7" y="2445"/>
                    <a:pt x="16" y="2445"/>
                  </a:cubicBezTo>
                  <a:cubicBezTo>
                    <a:pt x="25" y="2445"/>
                    <a:pt x="32" y="2452"/>
                    <a:pt x="32" y="2461"/>
                  </a:cubicBezTo>
                  <a:lnTo>
                    <a:pt x="32" y="2685"/>
                  </a:lnTo>
                  <a:cubicBezTo>
                    <a:pt x="32" y="2694"/>
                    <a:pt x="25" y="2701"/>
                    <a:pt x="16" y="2701"/>
                  </a:cubicBezTo>
                  <a:cubicBezTo>
                    <a:pt x="7" y="2701"/>
                    <a:pt x="0" y="2694"/>
                    <a:pt x="0" y="2685"/>
                  </a:cubicBezTo>
                  <a:close/>
                  <a:moveTo>
                    <a:pt x="0" y="2301"/>
                  </a:moveTo>
                  <a:lnTo>
                    <a:pt x="0" y="2077"/>
                  </a:lnTo>
                  <a:cubicBezTo>
                    <a:pt x="0" y="2068"/>
                    <a:pt x="7" y="2061"/>
                    <a:pt x="16" y="2061"/>
                  </a:cubicBezTo>
                  <a:cubicBezTo>
                    <a:pt x="25" y="2061"/>
                    <a:pt x="32" y="2068"/>
                    <a:pt x="32" y="2077"/>
                  </a:cubicBezTo>
                  <a:lnTo>
                    <a:pt x="32" y="2301"/>
                  </a:lnTo>
                  <a:cubicBezTo>
                    <a:pt x="32" y="2310"/>
                    <a:pt x="25" y="2317"/>
                    <a:pt x="16" y="2317"/>
                  </a:cubicBezTo>
                  <a:cubicBezTo>
                    <a:pt x="7" y="2317"/>
                    <a:pt x="0" y="2310"/>
                    <a:pt x="0" y="2301"/>
                  </a:cubicBezTo>
                  <a:close/>
                  <a:moveTo>
                    <a:pt x="0" y="1917"/>
                  </a:moveTo>
                  <a:lnTo>
                    <a:pt x="0" y="1693"/>
                  </a:lnTo>
                  <a:cubicBezTo>
                    <a:pt x="0" y="1684"/>
                    <a:pt x="7" y="1677"/>
                    <a:pt x="16" y="1677"/>
                  </a:cubicBezTo>
                  <a:cubicBezTo>
                    <a:pt x="25" y="1677"/>
                    <a:pt x="32" y="1684"/>
                    <a:pt x="32" y="1693"/>
                  </a:cubicBezTo>
                  <a:lnTo>
                    <a:pt x="32" y="1917"/>
                  </a:lnTo>
                  <a:cubicBezTo>
                    <a:pt x="32" y="1926"/>
                    <a:pt x="25" y="1933"/>
                    <a:pt x="16" y="1933"/>
                  </a:cubicBezTo>
                  <a:cubicBezTo>
                    <a:pt x="7" y="1933"/>
                    <a:pt x="0" y="1926"/>
                    <a:pt x="0" y="1917"/>
                  </a:cubicBezTo>
                  <a:close/>
                  <a:moveTo>
                    <a:pt x="0" y="1533"/>
                  </a:moveTo>
                  <a:lnTo>
                    <a:pt x="0" y="1309"/>
                  </a:lnTo>
                  <a:cubicBezTo>
                    <a:pt x="0" y="1300"/>
                    <a:pt x="7" y="1293"/>
                    <a:pt x="16" y="1293"/>
                  </a:cubicBezTo>
                  <a:cubicBezTo>
                    <a:pt x="25" y="1293"/>
                    <a:pt x="32" y="1300"/>
                    <a:pt x="32" y="1309"/>
                  </a:cubicBezTo>
                  <a:lnTo>
                    <a:pt x="32" y="1533"/>
                  </a:lnTo>
                  <a:cubicBezTo>
                    <a:pt x="32" y="1542"/>
                    <a:pt x="25" y="1549"/>
                    <a:pt x="16" y="1549"/>
                  </a:cubicBezTo>
                  <a:cubicBezTo>
                    <a:pt x="7" y="1549"/>
                    <a:pt x="0" y="1542"/>
                    <a:pt x="0" y="1533"/>
                  </a:cubicBezTo>
                  <a:close/>
                  <a:moveTo>
                    <a:pt x="0" y="1149"/>
                  </a:moveTo>
                  <a:lnTo>
                    <a:pt x="0" y="925"/>
                  </a:lnTo>
                  <a:cubicBezTo>
                    <a:pt x="0" y="916"/>
                    <a:pt x="7" y="909"/>
                    <a:pt x="16" y="909"/>
                  </a:cubicBezTo>
                  <a:cubicBezTo>
                    <a:pt x="25" y="909"/>
                    <a:pt x="32" y="916"/>
                    <a:pt x="32" y="925"/>
                  </a:cubicBezTo>
                  <a:lnTo>
                    <a:pt x="32" y="1149"/>
                  </a:lnTo>
                  <a:cubicBezTo>
                    <a:pt x="32" y="1158"/>
                    <a:pt x="25" y="1165"/>
                    <a:pt x="16" y="1165"/>
                  </a:cubicBezTo>
                  <a:cubicBezTo>
                    <a:pt x="7" y="1165"/>
                    <a:pt x="0" y="1158"/>
                    <a:pt x="0" y="1149"/>
                  </a:cubicBezTo>
                  <a:close/>
                  <a:moveTo>
                    <a:pt x="0" y="765"/>
                  </a:moveTo>
                  <a:lnTo>
                    <a:pt x="0" y="541"/>
                  </a:lnTo>
                  <a:cubicBezTo>
                    <a:pt x="0" y="532"/>
                    <a:pt x="7" y="525"/>
                    <a:pt x="16" y="525"/>
                  </a:cubicBezTo>
                  <a:cubicBezTo>
                    <a:pt x="25" y="525"/>
                    <a:pt x="32" y="532"/>
                    <a:pt x="32" y="541"/>
                  </a:cubicBezTo>
                  <a:lnTo>
                    <a:pt x="32" y="765"/>
                  </a:lnTo>
                  <a:cubicBezTo>
                    <a:pt x="32" y="774"/>
                    <a:pt x="25" y="781"/>
                    <a:pt x="16" y="781"/>
                  </a:cubicBezTo>
                  <a:cubicBezTo>
                    <a:pt x="7" y="781"/>
                    <a:pt x="0" y="774"/>
                    <a:pt x="0" y="765"/>
                  </a:cubicBezTo>
                  <a:close/>
                  <a:moveTo>
                    <a:pt x="0" y="381"/>
                  </a:moveTo>
                  <a:lnTo>
                    <a:pt x="0" y="157"/>
                  </a:lnTo>
                  <a:cubicBezTo>
                    <a:pt x="0" y="148"/>
                    <a:pt x="7" y="141"/>
                    <a:pt x="16" y="141"/>
                  </a:cubicBezTo>
                  <a:cubicBezTo>
                    <a:pt x="25" y="141"/>
                    <a:pt x="32" y="148"/>
                    <a:pt x="32" y="157"/>
                  </a:cubicBezTo>
                  <a:lnTo>
                    <a:pt x="32" y="381"/>
                  </a:lnTo>
                  <a:cubicBezTo>
                    <a:pt x="32" y="390"/>
                    <a:pt x="25" y="397"/>
                    <a:pt x="16" y="397"/>
                  </a:cubicBezTo>
                  <a:cubicBezTo>
                    <a:pt x="7" y="397"/>
                    <a:pt x="0" y="390"/>
                    <a:pt x="0" y="381"/>
                  </a:cubicBezTo>
                  <a:close/>
                  <a:moveTo>
                    <a:pt x="35" y="0"/>
                  </a:moveTo>
                  <a:lnTo>
                    <a:pt x="259" y="0"/>
                  </a:lnTo>
                  <a:cubicBezTo>
                    <a:pt x="267" y="0"/>
                    <a:pt x="275" y="7"/>
                    <a:pt x="275" y="16"/>
                  </a:cubicBezTo>
                  <a:cubicBezTo>
                    <a:pt x="275" y="24"/>
                    <a:pt x="267" y="32"/>
                    <a:pt x="259" y="32"/>
                  </a:cubicBezTo>
                  <a:lnTo>
                    <a:pt x="35" y="32"/>
                  </a:lnTo>
                  <a:cubicBezTo>
                    <a:pt x="26" y="32"/>
                    <a:pt x="19" y="24"/>
                    <a:pt x="19" y="16"/>
                  </a:cubicBezTo>
                  <a:cubicBezTo>
                    <a:pt x="19" y="7"/>
                    <a:pt x="26" y="0"/>
                    <a:pt x="35" y="0"/>
                  </a:cubicBezTo>
                  <a:close/>
                  <a:moveTo>
                    <a:pt x="419" y="0"/>
                  </a:moveTo>
                  <a:lnTo>
                    <a:pt x="643" y="0"/>
                  </a:lnTo>
                  <a:cubicBezTo>
                    <a:pt x="651" y="0"/>
                    <a:pt x="659" y="7"/>
                    <a:pt x="659" y="16"/>
                  </a:cubicBezTo>
                  <a:cubicBezTo>
                    <a:pt x="659" y="24"/>
                    <a:pt x="651" y="32"/>
                    <a:pt x="643" y="32"/>
                  </a:cubicBezTo>
                  <a:lnTo>
                    <a:pt x="419" y="32"/>
                  </a:lnTo>
                  <a:cubicBezTo>
                    <a:pt x="410" y="32"/>
                    <a:pt x="403" y="24"/>
                    <a:pt x="403" y="16"/>
                  </a:cubicBezTo>
                  <a:cubicBezTo>
                    <a:pt x="403" y="7"/>
                    <a:pt x="410" y="0"/>
                    <a:pt x="419" y="0"/>
                  </a:cubicBezTo>
                  <a:close/>
                  <a:moveTo>
                    <a:pt x="803" y="0"/>
                  </a:moveTo>
                  <a:lnTo>
                    <a:pt x="1027" y="0"/>
                  </a:lnTo>
                  <a:cubicBezTo>
                    <a:pt x="1035" y="0"/>
                    <a:pt x="1043" y="7"/>
                    <a:pt x="1043" y="16"/>
                  </a:cubicBezTo>
                  <a:cubicBezTo>
                    <a:pt x="1043" y="24"/>
                    <a:pt x="1035" y="32"/>
                    <a:pt x="1027" y="32"/>
                  </a:cubicBezTo>
                  <a:lnTo>
                    <a:pt x="803" y="32"/>
                  </a:lnTo>
                  <a:cubicBezTo>
                    <a:pt x="794" y="32"/>
                    <a:pt x="787" y="24"/>
                    <a:pt x="787" y="16"/>
                  </a:cubicBezTo>
                  <a:cubicBezTo>
                    <a:pt x="787" y="7"/>
                    <a:pt x="794" y="0"/>
                    <a:pt x="803" y="0"/>
                  </a:cubicBezTo>
                  <a:close/>
                  <a:moveTo>
                    <a:pt x="1187" y="0"/>
                  </a:moveTo>
                  <a:lnTo>
                    <a:pt x="1411" y="0"/>
                  </a:lnTo>
                  <a:cubicBezTo>
                    <a:pt x="1419" y="0"/>
                    <a:pt x="1427" y="7"/>
                    <a:pt x="1427" y="16"/>
                  </a:cubicBezTo>
                  <a:cubicBezTo>
                    <a:pt x="1427" y="24"/>
                    <a:pt x="1419" y="32"/>
                    <a:pt x="1411" y="32"/>
                  </a:cubicBezTo>
                  <a:lnTo>
                    <a:pt x="1187" y="32"/>
                  </a:lnTo>
                  <a:cubicBezTo>
                    <a:pt x="1178" y="32"/>
                    <a:pt x="1171" y="24"/>
                    <a:pt x="1171" y="16"/>
                  </a:cubicBezTo>
                  <a:cubicBezTo>
                    <a:pt x="1171" y="7"/>
                    <a:pt x="1178" y="0"/>
                    <a:pt x="1187" y="0"/>
                  </a:cubicBezTo>
                  <a:close/>
                  <a:moveTo>
                    <a:pt x="1571" y="0"/>
                  </a:moveTo>
                  <a:lnTo>
                    <a:pt x="1795" y="0"/>
                  </a:lnTo>
                  <a:cubicBezTo>
                    <a:pt x="1803" y="0"/>
                    <a:pt x="1811" y="7"/>
                    <a:pt x="1811" y="16"/>
                  </a:cubicBezTo>
                  <a:cubicBezTo>
                    <a:pt x="1811" y="24"/>
                    <a:pt x="1803" y="32"/>
                    <a:pt x="1795" y="32"/>
                  </a:cubicBezTo>
                  <a:lnTo>
                    <a:pt x="1571" y="32"/>
                  </a:lnTo>
                  <a:cubicBezTo>
                    <a:pt x="1562" y="32"/>
                    <a:pt x="1555" y="24"/>
                    <a:pt x="1555" y="16"/>
                  </a:cubicBezTo>
                  <a:cubicBezTo>
                    <a:pt x="1555" y="7"/>
                    <a:pt x="1562" y="0"/>
                    <a:pt x="1571" y="0"/>
                  </a:cubicBezTo>
                  <a:close/>
                  <a:moveTo>
                    <a:pt x="1955" y="0"/>
                  </a:moveTo>
                  <a:lnTo>
                    <a:pt x="2179" y="0"/>
                  </a:lnTo>
                  <a:cubicBezTo>
                    <a:pt x="2187" y="0"/>
                    <a:pt x="2195" y="7"/>
                    <a:pt x="2195" y="16"/>
                  </a:cubicBezTo>
                  <a:cubicBezTo>
                    <a:pt x="2195" y="24"/>
                    <a:pt x="2187" y="32"/>
                    <a:pt x="2179" y="32"/>
                  </a:cubicBezTo>
                  <a:lnTo>
                    <a:pt x="1955" y="32"/>
                  </a:lnTo>
                  <a:cubicBezTo>
                    <a:pt x="1946" y="32"/>
                    <a:pt x="1939" y="24"/>
                    <a:pt x="1939" y="16"/>
                  </a:cubicBezTo>
                  <a:cubicBezTo>
                    <a:pt x="1939" y="7"/>
                    <a:pt x="1946" y="0"/>
                    <a:pt x="1955" y="0"/>
                  </a:cubicBezTo>
                  <a:close/>
                  <a:moveTo>
                    <a:pt x="2339" y="0"/>
                  </a:moveTo>
                  <a:lnTo>
                    <a:pt x="2563" y="0"/>
                  </a:lnTo>
                  <a:cubicBezTo>
                    <a:pt x="2571" y="0"/>
                    <a:pt x="2579" y="7"/>
                    <a:pt x="2579" y="16"/>
                  </a:cubicBezTo>
                  <a:cubicBezTo>
                    <a:pt x="2579" y="24"/>
                    <a:pt x="2571" y="32"/>
                    <a:pt x="2563" y="32"/>
                  </a:cubicBezTo>
                  <a:lnTo>
                    <a:pt x="2339" y="32"/>
                  </a:lnTo>
                  <a:cubicBezTo>
                    <a:pt x="2330" y="32"/>
                    <a:pt x="2323" y="24"/>
                    <a:pt x="2323" y="16"/>
                  </a:cubicBezTo>
                  <a:cubicBezTo>
                    <a:pt x="2323" y="7"/>
                    <a:pt x="2330" y="0"/>
                    <a:pt x="2339" y="0"/>
                  </a:cubicBezTo>
                  <a:close/>
                  <a:moveTo>
                    <a:pt x="2723" y="0"/>
                  </a:moveTo>
                  <a:lnTo>
                    <a:pt x="2916" y="0"/>
                  </a:lnTo>
                  <a:cubicBezTo>
                    <a:pt x="2925" y="0"/>
                    <a:pt x="2932" y="7"/>
                    <a:pt x="2932" y="16"/>
                  </a:cubicBezTo>
                  <a:cubicBezTo>
                    <a:pt x="2932" y="24"/>
                    <a:pt x="2925" y="32"/>
                    <a:pt x="2916" y="32"/>
                  </a:cubicBezTo>
                  <a:lnTo>
                    <a:pt x="2723" y="32"/>
                  </a:lnTo>
                  <a:cubicBezTo>
                    <a:pt x="2714" y="32"/>
                    <a:pt x="2707" y="24"/>
                    <a:pt x="2707" y="16"/>
                  </a:cubicBezTo>
                  <a:cubicBezTo>
                    <a:pt x="2707" y="7"/>
                    <a:pt x="2714" y="0"/>
                    <a:pt x="2723"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80">
              <a:extLst>
                <a:ext uri="{FF2B5EF4-FFF2-40B4-BE49-F238E27FC236}">
                  <a16:creationId xmlns:a16="http://schemas.microsoft.com/office/drawing/2014/main" id="{A9CF1918-D50B-4384-AB57-20E435CB36A6}"/>
                </a:ext>
              </a:extLst>
            </p:cNvPr>
            <p:cNvSpPr>
              <a:spLocks/>
            </p:cNvSpPr>
            <p:nvPr/>
          </p:nvSpPr>
          <p:spPr bwMode="auto">
            <a:xfrm>
              <a:off x="4217988" y="2168525"/>
              <a:ext cx="100013" cy="100013"/>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81">
              <a:extLst>
                <a:ext uri="{FF2B5EF4-FFF2-40B4-BE49-F238E27FC236}">
                  <a16:creationId xmlns:a16="http://schemas.microsoft.com/office/drawing/2014/main" id="{92674658-90B5-4A51-97FA-1E074A3A2572}"/>
                </a:ext>
              </a:extLst>
            </p:cNvPr>
            <p:cNvSpPr>
              <a:spLocks/>
            </p:cNvSpPr>
            <p:nvPr/>
          </p:nvSpPr>
          <p:spPr bwMode="auto">
            <a:xfrm>
              <a:off x="5484813" y="2184400"/>
              <a:ext cx="96838" cy="149225"/>
            </a:xfrm>
            <a:custGeom>
              <a:avLst/>
              <a:gdLst>
                <a:gd name="T0" fmla="*/ 228 w 268"/>
                <a:gd name="T1" fmla="*/ 0 h 418"/>
                <a:gd name="T2" fmla="*/ 49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49" y="0"/>
                  </a:lnTo>
                  <a:lnTo>
                    <a:pt x="0" y="45"/>
                  </a:lnTo>
                  <a:lnTo>
                    <a:pt x="0" y="268"/>
                  </a:lnTo>
                  <a:cubicBezTo>
                    <a:pt x="0" y="351"/>
                    <a:pt x="60" y="418"/>
                    <a:pt x="134" y="418"/>
                  </a:cubicBezTo>
                  <a:cubicBezTo>
                    <a:pt x="208" y="418"/>
                    <a:pt x="268" y="351"/>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Oval 82">
              <a:extLst>
                <a:ext uri="{FF2B5EF4-FFF2-40B4-BE49-F238E27FC236}">
                  <a16:creationId xmlns:a16="http://schemas.microsoft.com/office/drawing/2014/main" id="{C84E8511-EE33-4D4D-804F-15622B451667}"/>
                </a:ext>
              </a:extLst>
            </p:cNvPr>
            <p:cNvSpPr>
              <a:spLocks noChangeArrowheads="1"/>
            </p:cNvSpPr>
            <p:nvPr/>
          </p:nvSpPr>
          <p:spPr bwMode="auto">
            <a:xfrm>
              <a:off x="5519738" y="2098675"/>
              <a:ext cx="61913" cy="68263"/>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83">
              <a:extLst>
                <a:ext uri="{FF2B5EF4-FFF2-40B4-BE49-F238E27FC236}">
                  <a16:creationId xmlns:a16="http://schemas.microsoft.com/office/drawing/2014/main" id="{627465EA-7C40-42E1-97C1-7EDCE753FDEC}"/>
                </a:ext>
              </a:extLst>
            </p:cNvPr>
            <p:cNvSpPr>
              <a:spLocks/>
            </p:cNvSpPr>
            <p:nvPr/>
          </p:nvSpPr>
          <p:spPr bwMode="auto">
            <a:xfrm>
              <a:off x="5381626" y="2184400"/>
              <a:ext cx="138113" cy="187325"/>
            </a:xfrm>
            <a:custGeom>
              <a:avLst/>
              <a:gdLst>
                <a:gd name="T0" fmla="*/ 39 w 386"/>
                <a:gd name="T1" fmla="*/ 0 h 527"/>
                <a:gd name="T2" fmla="*/ 348 w 386"/>
                <a:gd name="T3" fmla="*/ 0 h 527"/>
                <a:gd name="T4" fmla="*/ 386 w 386"/>
                <a:gd name="T5" fmla="*/ 44 h 527"/>
                <a:gd name="T6" fmla="*/ 386 w 386"/>
                <a:gd name="T7" fmla="*/ 316 h 527"/>
                <a:gd name="T8" fmla="*/ 197 w 386"/>
                <a:gd name="T9" fmla="*/ 527 h 527"/>
                <a:gd name="T10" fmla="*/ 190 w 386"/>
                <a:gd name="T11" fmla="*/ 527 h 527"/>
                <a:gd name="T12" fmla="*/ 0 w 386"/>
                <a:gd name="T13" fmla="*/ 316 h 527"/>
                <a:gd name="T14" fmla="*/ 0 w 386"/>
                <a:gd name="T15" fmla="*/ 43 h 527"/>
                <a:gd name="T16" fmla="*/ 39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9" y="0"/>
                  </a:moveTo>
                  <a:lnTo>
                    <a:pt x="348" y="0"/>
                  </a:lnTo>
                  <a:cubicBezTo>
                    <a:pt x="369" y="0"/>
                    <a:pt x="386" y="20"/>
                    <a:pt x="386" y="44"/>
                  </a:cubicBezTo>
                  <a:lnTo>
                    <a:pt x="386" y="316"/>
                  </a:lnTo>
                  <a:cubicBezTo>
                    <a:pt x="386" y="433"/>
                    <a:pt x="302" y="527"/>
                    <a:pt x="197" y="527"/>
                  </a:cubicBezTo>
                  <a:lnTo>
                    <a:pt x="190" y="527"/>
                  </a:lnTo>
                  <a:cubicBezTo>
                    <a:pt x="85" y="527"/>
                    <a:pt x="0" y="433"/>
                    <a:pt x="0" y="316"/>
                  </a:cubicBezTo>
                  <a:lnTo>
                    <a:pt x="0" y="43"/>
                  </a:lnTo>
                  <a:cubicBezTo>
                    <a:pt x="0" y="20"/>
                    <a:pt x="18" y="0"/>
                    <a:pt x="39"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Oval 84">
              <a:extLst>
                <a:ext uri="{FF2B5EF4-FFF2-40B4-BE49-F238E27FC236}">
                  <a16:creationId xmlns:a16="http://schemas.microsoft.com/office/drawing/2014/main" id="{37FB72DF-A286-4D08-9A24-15D4418F12FA}"/>
                </a:ext>
              </a:extLst>
            </p:cNvPr>
            <p:cNvSpPr>
              <a:spLocks noChangeArrowheads="1"/>
            </p:cNvSpPr>
            <p:nvPr/>
          </p:nvSpPr>
          <p:spPr bwMode="auto">
            <a:xfrm>
              <a:off x="5414963" y="2065338"/>
              <a:ext cx="88900" cy="1000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85">
              <a:extLst>
                <a:ext uri="{FF2B5EF4-FFF2-40B4-BE49-F238E27FC236}">
                  <a16:creationId xmlns:a16="http://schemas.microsoft.com/office/drawing/2014/main" id="{863CEB96-4E36-4FE4-A15E-5962844D6ECF}"/>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6">
              <a:extLst>
                <a:ext uri="{FF2B5EF4-FFF2-40B4-BE49-F238E27FC236}">
                  <a16:creationId xmlns:a16="http://schemas.microsoft.com/office/drawing/2014/main" id="{BD9EB78E-174F-43C5-8F53-B0ADC4C559C2}"/>
                </a:ext>
              </a:extLst>
            </p:cNvPr>
            <p:cNvSpPr>
              <a:spLocks noEditPoints="1"/>
            </p:cNvSpPr>
            <p:nvPr/>
          </p:nvSpPr>
          <p:spPr bwMode="auto">
            <a:xfrm>
              <a:off x="5381626" y="2132013"/>
              <a:ext cx="92075" cy="206375"/>
            </a:xfrm>
            <a:custGeom>
              <a:avLst/>
              <a:gdLst>
                <a:gd name="T0" fmla="*/ 258 w 258"/>
                <a:gd name="T1" fmla="*/ 49 h 575"/>
                <a:gd name="T2" fmla="*/ 258 w 258"/>
                <a:gd name="T3" fmla="*/ 81 h 575"/>
                <a:gd name="T4" fmla="*/ 99 w 258"/>
                <a:gd name="T5" fmla="*/ 3 h 575"/>
                <a:gd name="T6" fmla="*/ 98 w 258"/>
                <a:gd name="T7" fmla="*/ 1 h 575"/>
                <a:gd name="T8" fmla="*/ 213 w 258"/>
                <a:gd name="T9" fmla="*/ 1 h 575"/>
                <a:gd name="T10" fmla="*/ 258 w 258"/>
                <a:gd name="T11" fmla="*/ 49 h 575"/>
                <a:gd name="T12" fmla="*/ 39 w 258"/>
                <a:gd name="T13" fmla="*/ 144 h 575"/>
                <a:gd name="T14" fmla="*/ 0 w 258"/>
                <a:gd name="T15" fmla="*/ 188 h 575"/>
                <a:gd name="T16" fmla="*/ 0 w 258"/>
                <a:gd name="T17" fmla="*/ 460 h 575"/>
                <a:gd name="T18" fmla="*/ 31 w 258"/>
                <a:gd name="T19" fmla="*/ 575 h 575"/>
                <a:gd name="T20" fmla="*/ 204 w 258"/>
                <a:gd name="T21" fmla="*/ 575 h 575"/>
                <a:gd name="T22" fmla="*/ 258 w 258"/>
                <a:gd name="T23" fmla="*/ 520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9"/>
                  </a:moveTo>
                  <a:lnTo>
                    <a:pt x="258" y="81"/>
                  </a:lnTo>
                  <a:cubicBezTo>
                    <a:pt x="195" y="109"/>
                    <a:pt x="123" y="73"/>
                    <a:pt x="99" y="3"/>
                  </a:cubicBezTo>
                  <a:cubicBezTo>
                    <a:pt x="99" y="2"/>
                    <a:pt x="98" y="1"/>
                    <a:pt x="98" y="1"/>
                  </a:cubicBezTo>
                  <a:lnTo>
                    <a:pt x="213" y="1"/>
                  </a:lnTo>
                  <a:cubicBezTo>
                    <a:pt x="237" y="0"/>
                    <a:pt x="257" y="21"/>
                    <a:pt x="258" y="49"/>
                  </a:cubicBezTo>
                  <a:close/>
                  <a:moveTo>
                    <a:pt x="39" y="144"/>
                  </a:moveTo>
                  <a:cubicBezTo>
                    <a:pt x="18" y="144"/>
                    <a:pt x="0" y="164"/>
                    <a:pt x="0" y="188"/>
                  </a:cubicBezTo>
                  <a:lnTo>
                    <a:pt x="0" y="460"/>
                  </a:lnTo>
                  <a:cubicBezTo>
                    <a:pt x="1" y="501"/>
                    <a:pt x="11" y="541"/>
                    <a:pt x="31" y="575"/>
                  </a:cubicBezTo>
                  <a:lnTo>
                    <a:pt x="204" y="575"/>
                  </a:lnTo>
                  <a:cubicBezTo>
                    <a:pt x="232" y="574"/>
                    <a:pt x="255" y="550"/>
                    <a:pt x="258" y="520"/>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87">
              <a:extLst>
                <a:ext uri="{FF2B5EF4-FFF2-40B4-BE49-F238E27FC236}">
                  <a16:creationId xmlns:a16="http://schemas.microsoft.com/office/drawing/2014/main" id="{F280ECE4-66BE-499D-8DF9-96C6658D8F1A}"/>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8">
              <a:extLst>
                <a:ext uri="{FF2B5EF4-FFF2-40B4-BE49-F238E27FC236}">
                  <a16:creationId xmlns:a16="http://schemas.microsoft.com/office/drawing/2014/main" id="{7C93180A-583B-4566-AA46-F0FE105426F2}"/>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9">
              <a:extLst>
                <a:ext uri="{FF2B5EF4-FFF2-40B4-BE49-F238E27FC236}">
                  <a16:creationId xmlns:a16="http://schemas.microsoft.com/office/drawing/2014/main" id="{E579D125-F9C5-4E1F-8F73-9911424C2AFE}"/>
                </a:ext>
              </a:extLst>
            </p:cNvPr>
            <p:cNvSpPr>
              <a:spLocks noEditPoints="1"/>
            </p:cNvSpPr>
            <p:nvPr/>
          </p:nvSpPr>
          <p:spPr bwMode="auto">
            <a:xfrm>
              <a:off x="5381626" y="2132013"/>
              <a:ext cx="92075" cy="206375"/>
            </a:xfrm>
            <a:custGeom>
              <a:avLst/>
              <a:gdLst>
                <a:gd name="T0" fmla="*/ 258 w 258"/>
                <a:gd name="T1" fmla="*/ 49 h 575"/>
                <a:gd name="T2" fmla="*/ 258 w 258"/>
                <a:gd name="T3" fmla="*/ 81 h 575"/>
                <a:gd name="T4" fmla="*/ 99 w 258"/>
                <a:gd name="T5" fmla="*/ 3 h 575"/>
                <a:gd name="T6" fmla="*/ 98 w 258"/>
                <a:gd name="T7" fmla="*/ 1 h 575"/>
                <a:gd name="T8" fmla="*/ 213 w 258"/>
                <a:gd name="T9" fmla="*/ 1 h 575"/>
                <a:gd name="T10" fmla="*/ 258 w 258"/>
                <a:gd name="T11" fmla="*/ 49 h 575"/>
                <a:gd name="T12" fmla="*/ 39 w 258"/>
                <a:gd name="T13" fmla="*/ 144 h 575"/>
                <a:gd name="T14" fmla="*/ 0 w 258"/>
                <a:gd name="T15" fmla="*/ 188 h 575"/>
                <a:gd name="T16" fmla="*/ 0 w 258"/>
                <a:gd name="T17" fmla="*/ 460 h 575"/>
                <a:gd name="T18" fmla="*/ 31 w 258"/>
                <a:gd name="T19" fmla="*/ 575 h 575"/>
                <a:gd name="T20" fmla="*/ 204 w 258"/>
                <a:gd name="T21" fmla="*/ 575 h 575"/>
                <a:gd name="T22" fmla="*/ 258 w 258"/>
                <a:gd name="T23" fmla="*/ 520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9"/>
                  </a:moveTo>
                  <a:lnTo>
                    <a:pt x="258" y="81"/>
                  </a:lnTo>
                  <a:cubicBezTo>
                    <a:pt x="195" y="109"/>
                    <a:pt x="123" y="73"/>
                    <a:pt x="99" y="3"/>
                  </a:cubicBezTo>
                  <a:cubicBezTo>
                    <a:pt x="99" y="2"/>
                    <a:pt x="98" y="1"/>
                    <a:pt x="98" y="1"/>
                  </a:cubicBezTo>
                  <a:lnTo>
                    <a:pt x="213" y="1"/>
                  </a:lnTo>
                  <a:cubicBezTo>
                    <a:pt x="237" y="0"/>
                    <a:pt x="257" y="21"/>
                    <a:pt x="258" y="49"/>
                  </a:cubicBezTo>
                  <a:close/>
                  <a:moveTo>
                    <a:pt x="39" y="144"/>
                  </a:moveTo>
                  <a:cubicBezTo>
                    <a:pt x="18" y="144"/>
                    <a:pt x="0" y="164"/>
                    <a:pt x="0" y="188"/>
                  </a:cubicBezTo>
                  <a:lnTo>
                    <a:pt x="0" y="460"/>
                  </a:lnTo>
                  <a:cubicBezTo>
                    <a:pt x="1" y="501"/>
                    <a:pt x="11" y="541"/>
                    <a:pt x="31" y="575"/>
                  </a:cubicBezTo>
                  <a:lnTo>
                    <a:pt x="204" y="575"/>
                  </a:lnTo>
                  <a:cubicBezTo>
                    <a:pt x="232" y="574"/>
                    <a:pt x="255" y="550"/>
                    <a:pt x="258" y="520"/>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90">
              <a:extLst>
                <a:ext uri="{FF2B5EF4-FFF2-40B4-BE49-F238E27FC236}">
                  <a16:creationId xmlns:a16="http://schemas.microsoft.com/office/drawing/2014/main" id="{9887A7BA-59B1-41E2-A617-948FA68FD6E0}"/>
                </a:ext>
              </a:extLst>
            </p:cNvPr>
            <p:cNvSpPr>
              <a:spLocks noChangeArrowheads="1"/>
            </p:cNvSpPr>
            <p:nvPr/>
          </p:nvSpPr>
          <p:spPr bwMode="auto">
            <a:xfrm>
              <a:off x="5380038" y="2127250"/>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1">
              <a:extLst>
                <a:ext uri="{FF2B5EF4-FFF2-40B4-BE49-F238E27FC236}">
                  <a16:creationId xmlns:a16="http://schemas.microsoft.com/office/drawing/2014/main" id="{5A7A3040-6FB2-4E6D-92DD-1C7807938513}"/>
                </a:ext>
              </a:extLst>
            </p:cNvPr>
            <p:cNvSpPr>
              <a:spLocks/>
            </p:cNvSpPr>
            <p:nvPr/>
          </p:nvSpPr>
          <p:spPr bwMode="auto">
            <a:xfrm>
              <a:off x="5275263" y="2116138"/>
              <a:ext cx="184150" cy="204788"/>
            </a:xfrm>
            <a:custGeom>
              <a:avLst/>
              <a:gdLst>
                <a:gd name="T0" fmla="*/ 42 w 514"/>
                <a:gd name="T1" fmla="*/ 0 h 574"/>
                <a:gd name="T2" fmla="*/ 471 w 514"/>
                <a:gd name="T3" fmla="*/ 0 h 574"/>
                <a:gd name="T4" fmla="*/ 514 w 514"/>
                <a:gd name="T5" fmla="*/ 48 h 574"/>
                <a:gd name="T6" fmla="*/ 514 w 514"/>
                <a:gd name="T7" fmla="*/ 526 h 574"/>
                <a:gd name="T8" fmla="*/ 471 w 514"/>
                <a:gd name="T9" fmla="*/ 574 h 574"/>
                <a:gd name="T10" fmla="*/ 42 w 514"/>
                <a:gd name="T11" fmla="*/ 574 h 574"/>
                <a:gd name="T12" fmla="*/ 0 w 514"/>
                <a:gd name="T13" fmla="*/ 526 h 574"/>
                <a:gd name="T14" fmla="*/ 0 w 514"/>
                <a:gd name="T15" fmla="*/ 48 h 574"/>
                <a:gd name="T16" fmla="*/ 42 w 514"/>
                <a:gd name="T17"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4">
                  <a:moveTo>
                    <a:pt x="42" y="0"/>
                  </a:moveTo>
                  <a:lnTo>
                    <a:pt x="471" y="0"/>
                  </a:lnTo>
                  <a:cubicBezTo>
                    <a:pt x="495" y="0"/>
                    <a:pt x="514" y="21"/>
                    <a:pt x="514" y="48"/>
                  </a:cubicBezTo>
                  <a:lnTo>
                    <a:pt x="514" y="526"/>
                  </a:lnTo>
                  <a:cubicBezTo>
                    <a:pt x="514" y="553"/>
                    <a:pt x="495" y="574"/>
                    <a:pt x="471" y="574"/>
                  </a:cubicBezTo>
                  <a:lnTo>
                    <a:pt x="42" y="574"/>
                  </a:lnTo>
                  <a:cubicBezTo>
                    <a:pt x="19" y="574"/>
                    <a:pt x="0" y="553"/>
                    <a:pt x="0" y="526"/>
                  </a:cubicBezTo>
                  <a:lnTo>
                    <a:pt x="0" y="48"/>
                  </a:lnTo>
                  <a:cubicBezTo>
                    <a:pt x="0" y="21"/>
                    <a:pt x="19" y="0"/>
                    <a:pt x="42"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92">
              <a:extLst>
                <a:ext uri="{FF2B5EF4-FFF2-40B4-BE49-F238E27FC236}">
                  <a16:creationId xmlns:a16="http://schemas.microsoft.com/office/drawing/2014/main" id="{77277ABE-BF1B-4AA5-B834-B533E2C2858B}"/>
                </a:ext>
              </a:extLst>
            </p:cNvPr>
            <p:cNvSpPr>
              <a:spLocks/>
            </p:cNvSpPr>
            <p:nvPr/>
          </p:nvSpPr>
          <p:spPr bwMode="auto">
            <a:xfrm>
              <a:off x="5314951" y="2155825"/>
              <a:ext cx="88900" cy="123825"/>
            </a:xfrm>
            <a:custGeom>
              <a:avLst/>
              <a:gdLst>
                <a:gd name="T0" fmla="*/ 56 w 56"/>
                <a:gd name="T1" fmla="*/ 16 h 78"/>
                <a:gd name="T2" fmla="*/ 35 w 56"/>
                <a:gd name="T3" fmla="*/ 16 h 78"/>
                <a:gd name="T4" fmla="*/ 35 w 56"/>
                <a:gd name="T5" fmla="*/ 78 h 78"/>
                <a:gd name="T6" fmla="*/ 21 w 56"/>
                <a:gd name="T7" fmla="*/ 78 h 78"/>
                <a:gd name="T8" fmla="*/ 21 w 56"/>
                <a:gd name="T9" fmla="*/ 16 h 78"/>
                <a:gd name="T10" fmla="*/ 0 w 56"/>
                <a:gd name="T11" fmla="*/ 16 h 78"/>
                <a:gd name="T12" fmla="*/ 0 w 56"/>
                <a:gd name="T13" fmla="*/ 0 h 78"/>
                <a:gd name="T14" fmla="*/ 56 w 56"/>
                <a:gd name="T15" fmla="*/ 0 h 78"/>
                <a:gd name="T16" fmla="*/ 56 w 56"/>
                <a:gd name="T17"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8">
                  <a:moveTo>
                    <a:pt x="56" y="16"/>
                  </a:moveTo>
                  <a:lnTo>
                    <a:pt x="35" y="16"/>
                  </a:lnTo>
                  <a:lnTo>
                    <a:pt x="35" y="78"/>
                  </a:lnTo>
                  <a:lnTo>
                    <a:pt x="21" y="78"/>
                  </a:lnTo>
                  <a:lnTo>
                    <a:pt x="21" y="16"/>
                  </a:lnTo>
                  <a:lnTo>
                    <a:pt x="0" y="16"/>
                  </a:lnTo>
                  <a:lnTo>
                    <a:pt x="0" y="0"/>
                  </a:lnTo>
                  <a:lnTo>
                    <a:pt x="56" y="0"/>
                  </a:lnTo>
                  <a:lnTo>
                    <a:pt x="5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722A46C8-8C92-464B-9E26-F019D9901A51}"/>
              </a:ext>
            </a:extLst>
          </p:cNvPr>
          <p:cNvGrpSpPr/>
          <p:nvPr/>
        </p:nvGrpSpPr>
        <p:grpSpPr>
          <a:xfrm>
            <a:off x="3776663" y="3660775"/>
            <a:ext cx="3124201" cy="303213"/>
            <a:chOff x="3776663" y="3660775"/>
            <a:chExt cx="3124201" cy="303213"/>
          </a:xfrm>
        </p:grpSpPr>
        <p:sp>
          <p:nvSpPr>
            <p:cNvPr id="67" name="Freeform 10">
              <a:extLst>
                <a:ext uri="{FF2B5EF4-FFF2-40B4-BE49-F238E27FC236}">
                  <a16:creationId xmlns:a16="http://schemas.microsoft.com/office/drawing/2014/main" id="{6422CE06-EAAC-4F7B-B45F-114F33B46954}"/>
                </a:ext>
              </a:extLst>
            </p:cNvPr>
            <p:cNvSpPr>
              <a:spLocks noEditPoints="1"/>
            </p:cNvSpPr>
            <p:nvPr/>
          </p:nvSpPr>
          <p:spPr bwMode="auto">
            <a:xfrm>
              <a:off x="3776663" y="3795713"/>
              <a:ext cx="1739900" cy="19050"/>
            </a:xfrm>
            <a:custGeom>
              <a:avLst/>
              <a:gdLst>
                <a:gd name="T0" fmla="*/ 240 w 4864"/>
                <a:gd name="T1" fmla="*/ 1 h 52"/>
                <a:gd name="T2" fmla="*/ 240 w 4864"/>
                <a:gd name="T3" fmla="*/ 33 h 52"/>
                <a:gd name="T4" fmla="*/ 0 w 4864"/>
                <a:gd name="T5" fmla="*/ 16 h 52"/>
                <a:gd name="T6" fmla="*/ 400 w 4864"/>
                <a:gd name="T7" fmla="*/ 1 h 52"/>
                <a:gd name="T8" fmla="*/ 640 w 4864"/>
                <a:gd name="T9" fmla="*/ 18 h 52"/>
                <a:gd name="T10" fmla="*/ 400 w 4864"/>
                <a:gd name="T11" fmla="*/ 33 h 52"/>
                <a:gd name="T12" fmla="*/ 400 w 4864"/>
                <a:gd name="T13" fmla="*/ 1 h 52"/>
                <a:gd name="T14" fmla="*/ 1008 w 4864"/>
                <a:gd name="T15" fmla="*/ 4 h 52"/>
                <a:gd name="T16" fmla="*/ 1008 w 4864"/>
                <a:gd name="T17" fmla="*/ 36 h 52"/>
                <a:gd name="T18" fmla="*/ 768 w 4864"/>
                <a:gd name="T19" fmla="*/ 19 h 52"/>
                <a:gd name="T20" fmla="*/ 1168 w 4864"/>
                <a:gd name="T21" fmla="*/ 5 h 52"/>
                <a:gd name="T22" fmla="*/ 1408 w 4864"/>
                <a:gd name="T23" fmla="*/ 22 h 52"/>
                <a:gd name="T24" fmla="*/ 1168 w 4864"/>
                <a:gd name="T25" fmla="*/ 37 h 52"/>
                <a:gd name="T26" fmla="*/ 1168 w 4864"/>
                <a:gd name="T27" fmla="*/ 5 h 52"/>
                <a:gd name="T28" fmla="*/ 1776 w 4864"/>
                <a:gd name="T29" fmla="*/ 7 h 52"/>
                <a:gd name="T30" fmla="*/ 1776 w 4864"/>
                <a:gd name="T31" fmla="*/ 39 h 52"/>
                <a:gd name="T32" fmla="*/ 1536 w 4864"/>
                <a:gd name="T33" fmla="*/ 22 h 52"/>
                <a:gd name="T34" fmla="*/ 1936 w 4864"/>
                <a:gd name="T35" fmla="*/ 8 h 52"/>
                <a:gd name="T36" fmla="*/ 2176 w 4864"/>
                <a:gd name="T37" fmla="*/ 25 h 52"/>
                <a:gd name="T38" fmla="*/ 1936 w 4864"/>
                <a:gd name="T39" fmla="*/ 40 h 52"/>
                <a:gd name="T40" fmla="*/ 1936 w 4864"/>
                <a:gd name="T41" fmla="*/ 8 h 52"/>
                <a:gd name="T42" fmla="*/ 2544 w 4864"/>
                <a:gd name="T43" fmla="*/ 10 h 52"/>
                <a:gd name="T44" fmla="*/ 2544 w 4864"/>
                <a:gd name="T45" fmla="*/ 42 h 52"/>
                <a:gd name="T46" fmla="*/ 2304 w 4864"/>
                <a:gd name="T47" fmla="*/ 25 h 52"/>
                <a:gd name="T48" fmla="*/ 2704 w 4864"/>
                <a:gd name="T49" fmla="*/ 11 h 52"/>
                <a:gd name="T50" fmla="*/ 2944 w 4864"/>
                <a:gd name="T51" fmla="*/ 28 h 52"/>
                <a:gd name="T52" fmla="*/ 2704 w 4864"/>
                <a:gd name="T53" fmla="*/ 43 h 52"/>
                <a:gd name="T54" fmla="*/ 2704 w 4864"/>
                <a:gd name="T55" fmla="*/ 11 h 52"/>
                <a:gd name="T56" fmla="*/ 3312 w 4864"/>
                <a:gd name="T57" fmla="*/ 14 h 52"/>
                <a:gd name="T58" fmla="*/ 3312 w 4864"/>
                <a:gd name="T59" fmla="*/ 46 h 52"/>
                <a:gd name="T60" fmla="*/ 3072 w 4864"/>
                <a:gd name="T61" fmla="*/ 29 h 52"/>
                <a:gd name="T62" fmla="*/ 3472 w 4864"/>
                <a:gd name="T63" fmla="*/ 14 h 52"/>
                <a:gd name="T64" fmla="*/ 3712 w 4864"/>
                <a:gd name="T65" fmla="*/ 31 h 52"/>
                <a:gd name="T66" fmla="*/ 3472 w 4864"/>
                <a:gd name="T67" fmla="*/ 46 h 52"/>
                <a:gd name="T68" fmla="*/ 3472 w 4864"/>
                <a:gd name="T69" fmla="*/ 14 h 52"/>
                <a:gd name="T70" fmla="*/ 4080 w 4864"/>
                <a:gd name="T71" fmla="*/ 17 h 52"/>
                <a:gd name="T72" fmla="*/ 4080 w 4864"/>
                <a:gd name="T73" fmla="*/ 49 h 52"/>
                <a:gd name="T74" fmla="*/ 3840 w 4864"/>
                <a:gd name="T75" fmla="*/ 32 h 52"/>
                <a:gd name="T76" fmla="*/ 4240 w 4864"/>
                <a:gd name="T77" fmla="*/ 17 h 52"/>
                <a:gd name="T78" fmla="*/ 4480 w 4864"/>
                <a:gd name="T79" fmla="*/ 34 h 52"/>
                <a:gd name="T80" fmla="*/ 4240 w 4864"/>
                <a:gd name="T81" fmla="*/ 49 h 52"/>
                <a:gd name="T82" fmla="*/ 4240 w 4864"/>
                <a:gd name="T83" fmla="*/ 17 h 52"/>
                <a:gd name="T84" fmla="*/ 4848 w 4864"/>
                <a:gd name="T85" fmla="*/ 20 h 52"/>
                <a:gd name="T86" fmla="*/ 4848 w 4864"/>
                <a:gd name="T87" fmla="*/ 52 h 52"/>
                <a:gd name="T88" fmla="*/ 4608 w 4864"/>
                <a:gd name="T89"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52">
                  <a:moveTo>
                    <a:pt x="16" y="0"/>
                  </a:moveTo>
                  <a:lnTo>
                    <a:pt x="240" y="1"/>
                  </a:lnTo>
                  <a:cubicBezTo>
                    <a:pt x="249" y="1"/>
                    <a:pt x="256" y="8"/>
                    <a:pt x="256" y="17"/>
                  </a:cubicBezTo>
                  <a:cubicBezTo>
                    <a:pt x="256" y="26"/>
                    <a:pt x="249" y="33"/>
                    <a:pt x="240" y="33"/>
                  </a:cubicBezTo>
                  <a:lnTo>
                    <a:pt x="16" y="32"/>
                  </a:lnTo>
                  <a:cubicBezTo>
                    <a:pt x="7" y="32"/>
                    <a:pt x="0" y="25"/>
                    <a:pt x="0" y="16"/>
                  </a:cubicBezTo>
                  <a:cubicBezTo>
                    <a:pt x="0" y="7"/>
                    <a:pt x="7" y="0"/>
                    <a:pt x="16" y="0"/>
                  </a:cubicBezTo>
                  <a:close/>
                  <a:moveTo>
                    <a:pt x="400" y="1"/>
                  </a:moveTo>
                  <a:lnTo>
                    <a:pt x="624" y="2"/>
                  </a:lnTo>
                  <a:cubicBezTo>
                    <a:pt x="633" y="2"/>
                    <a:pt x="640" y="10"/>
                    <a:pt x="640" y="18"/>
                  </a:cubicBezTo>
                  <a:cubicBezTo>
                    <a:pt x="640" y="27"/>
                    <a:pt x="633" y="34"/>
                    <a:pt x="624" y="34"/>
                  </a:cubicBezTo>
                  <a:lnTo>
                    <a:pt x="400" y="33"/>
                  </a:lnTo>
                  <a:cubicBezTo>
                    <a:pt x="391" y="33"/>
                    <a:pt x="384" y="26"/>
                    <a:pt x="384" y="17"/>
                  </a:cubicBezTo>
                  <a:cubicBezTo>
                    <a:pt x="384" y="9"/>
                    <a:pt x="391" y="1"/>
                    <a:pt x="400" y="1"/>
                  </a:cubicBezTo>
                  <a:close/>
                  <a:moveTo>
                    <a:pt x="784" y="3"/>
                  </a:moveTo>
                  <a:lnTo>
                    <a:pt x="1008" y="4"/>
                  </a:lnTo>
                  <a:cubicBezTo>
                    <a:pt x="1017" y="4"/>
                    <a:pt x="1024" y="11"/>
                    <a:pt x="1024" y="20"/>
                  </a:cubicBezTo>
                  <a:cubicBezTo>
                    <a:pt x="1024" y="29"/>
                    <a:pt x="1017" y="36"/>
                    <a:pt x="1008" y="36"/>
                  </a:cubicBezTo>
                  <a:lnTo>
                    <a:pt x="784" y="35"/>
                  </a:lnTo>
                  <a:cubicBezTo>
                    <a:pt x="775" y="35"/>
                    <a:pt x="768" y="28"/>
                    <a:pt x="768" y="19"/>
                  </a:cubicBezTo>
                  <a:cubicBezTo>
                    <a:pt x="768" y="10"/>
                    <a:pt x="775" y="3"/>
                    <a:pt x="784" y="3"/>
                  </a:cubicBezTo>
                  <a:close/>
                  <a:moveTo>
                    <a:pt x="1168" y="5"/>
                  </a:moveTo>
                  <a:lnTo>
                    <a:pt x="1392" y="6"/>
                  </a:lnTo>
                  <a:cubicBezTo>
                    <a:pt x="1401" y="6"/>
                    <a:pt x="1408" y="13"/>
                    <a:pt x="1408" y="22"/>
                  </a:cubicBezTo>
                  <a:cubicBezTo>
                    <a:pt x="1408" y="30"/>
                    <a:pt x="1401" y="38"/>
                    <a:pt x="1392" y="38"/>
                  </a:cubicBezTo>
                  <a:lnTo>
                    <a:pt x="1168" y="37"/>
                  </a:lnTo>
                  <a:cubicBezTo>
                    <a:pt x="1159" y="37"/>
                    <a:pt x="1152" y="29"/>
                    <a:pt x="1152" y="21"/>
                  </a:cubicBezTo>
                  <a:cubicBezTo>
                    <a:pt x="1152" y="12"/>
                    <a:pt x="1159" y="5"/>
                    <a:pt x="1168" y="5"/>
                  </a:cubicBezTo>
                  <a:close/>
                  <a:moveTo>
                    <a:pt x="1552" y="6"/>
                  </a:moveTo>
                  <a:lnTo>
                    <a:pt x="1776" y="7"/>
                  </a:lnTo>
                  <a:cubicBezTo>
                    <a:pt x="1785" y="7"/>
                    <a:pt x="1792" y="14"/>
                    <a:pt x="1792" y="23"/>
                  </a:cubicBezTo>
                  <a:cubicBezTo>
                    <a:pt x="1792" y="32"/>
                    <a:pt x="1785" y="39"/>
                    <a:pt x="1776" y="39"/>
                  </a:cubicBezTo>
                  <a:lnTo>
                    <a:pt x="1552" y="38"/>
                  </a:lnTo>
                  <a:cubicBezTo>
                    <a:pt x="1543" y="38"/>
                    <a:pt x="1536" y="31"/>
                    <a:pt x="1536" y="22"/>
                  </a:cubicBezTo>
                  <a:cubicBezTo>
                    <a:pt x="1536" y="13"/>
                    <a:pt x="1543" y="6"/>
                    <a:pt x="1552" y="6"/>
                  </a:cubicBezTo>
                  <a:close/>
                  <a:moveTo>
                    <a:pt x="1936" y="8"/>
                  </a:moveTo>
                  <a:lnTo>
                    <a:pt x="2160" y="9"/>
                  </a:lnTo>
                  <a:cubicBezTo>
                    <a:pt x="2169" y="9"/>
                    <a:pt x="2176" y="16"/>
                    <a:pt x="2176" y="25"/>
                  </a:cubicBezTo>
                  <a:cubicBezTo>
                    <a:pt x="2176" y="34"/>
                    <a:pt x="2169" y="41"/>
                    <a:pt x="2160" y="41"/>
                  </a:cubicBezTo>
                  <a:lnTo>
                    <a:pt x="1936" y="40"/>
                  </a:lnTo>
                  <a:cubicBezTo>
                    <a:pt x="1927" y="40"/>
                    <a:pt x="1920" y="33"/>
                    <a:pt x="1920" y="24"/>
                  </a:cubicBezTo>
                  <a:cubicBezTo>
                    <a:pt x="1920" y="15"/>
                    <a:pt x="1927" y="8"/>
                    <a:pt x="1936" y="8"/>
                  </a:cubicBezTo>
                  <a:close/>
                  <a:moveTo>
                    <a:pt x="2320" y="9"/>
                  </a:moveTo>
                  <a:lnTo>
                    <a:pt x="2544" y="10"/>
                  </a:lnTo>
                  <a:cubicBezTo>
                    <a:pt x="2553" y="10"/>
                    <a:pt x="2560" y="18"/>
                    <a:pt x="2560" y="26"/>
                  </a:cubicBezTo>
                  <a:cubicBezTo>
                    <a:pt x="2560" y="35"/>
                    <a:pt x="2553" y="42"/>
                    <a:pt x="2544" y="42"/>
                  </a:cubicBezTo>
                  <a:lnTo>
                    <a:pt x="2320" y="41"/>
                  </a:lnTo>
                  <a:cubicBezTo>
                    <a:pt x="2311" y="41"/>
                    <a:pt x="2304" y="34"/>
                    <a:pt x="2304" y="25"/>
                  </a:cubicBezTo>
                  <a:cubicBezTo>
                    <a:pt x="2304" y="17"/>
                    <a:pt x="2311" y="9"/>
                    <a:pt x="2320" y="9"/>
                  </a:cubicBezTo>
                  <a:close/>
                  <a:moveTo>
                    <a:pt x="2704" y="11"/>
                  </a:moveTo>
                  <a:lnTo>
                    <a:pt x="2928" y="12"/>
                  </a:lnTo>
                  <a:cubicBezTo>
                    <a:pt x="2937" y="12"/>
                    <a:pt x="2944" y="19"/>
                    <a:pt x="2944" y="28"/>
                  </a:cubicBezTo>
                  <a:cubicBezTo>
                    <a:pt x="2944" y="37"/>
                    <a:pt x="2937" y="44"/>
                    <a:pt x="2928" y="44"/>
                  </a:cubicBezTo>
                  <a:lnTo>
                    <a:pt x="2704" y="43"/>
                  </a:lnTo>
                  <a:cubicBezTo>
                    <a:pt x="2695" y="43"/>
                    <a:pt x="2688" y="36"/>
                    <a:pt x="2688" y="27"/>
                  </a:cubicBezTo>
                  <a:cubicBezTo>
                    <a:pt x="2688" y="18"/>
                    <a:pt x="2695" y="11"/>
                    <a:pt x="2704" y="11"/>
                  </a:cubicBezTo>
                  <a:close/>
                  <a:moveTo>
                    <a:pt x="3088" y="13"/>
                  </a:moveTo>
                  <a:lnTo>
                    <a:pt x="3312" y="14"/>
                  </a:lnTo>
                  <a:cubicBezTo>
                    <a:pt x="3321" y="14"/>
                    <a:pt x="3328" y="21"/>
                    <a:pt x="3328" y="30"/>
                  </a:cubicBezTo>
                  <a:cubicBezTo>
                    <a:pt x="3328" y="38"/>
                    <a:pt x="3321" y="46"/>
                    <a:pt x="3312" y="46"/>
                  </a:cubicBezTo>
                  <a:lnTo>
                    <a:pt x="3088" y="45"/>
                  </a:lnTo>
                  <a:cubicBezTo>
                    <a:pt x="3079" y="45"/>
                    <a:pt x="3072" y="37"/>
                    <a:pt x="3072" y="29"/>
                  </a:cubicBezTo>
                  <a:cubicBezTo>
                    <a:pt x="3072" y="20"/>
                    <a:pt x="3079" y="13"/>
                    <a:pt x="3088" y="13"/>
                  </a:cubicBezTo>
                  <a:close/>
                  <a:moveTo>
                    <a:pt x="3472" y="14"/>
                  </a:moveTo>
                  <a:lnTo>
                    <a:pt x="3696" y="15"/>
                  </a:lnTo>
                  <a:cubicBezTo>
                    <a:pt x="3705" y="15"/>
                    <a:pt x="3712" y="22"/>
                    <a:pt x="3712" y="31"/>
                  </a:cubicBezTo>
                  <a:cubicBezTo>
                    <a:pt x="3712" y="40"/>
                    <a:pt x="3705" y="47"/>
                    <a:pt x="3696" y="47"/>
                  </a:cubicBezTo>
                  <a:lnTo>
                    <a:pt x="3472" y="46"/>
                  </a:lnTo>
                  <a:cubicBezTo>
                    <a:pt x="3463" y="46"/>
                    <a:pt x="3456" y="39"/>
                    <a:pt x="3456" y="30"/>
                  </a:cubicBezTo>
                  <a:cubicBezTo>
                    <a:pt x="3456" y="21"/>
                    <a:pt x="3463" y="14"/>
                    <a:pt x="3472" y="14"/>
                  </a:cubicBezTo>
                  <a:close/>
                  <a:moveTo>
                    <a:pt x="3856" y="16"/>
                  </a:moveTo>
                  <a:lnTo>
                    <a:pt x="4080" y="17"/>
                  </a:lnTo>
                  <a:cubicBezTo>
                    <a:pt x="4089" y="17"/>
                    <a:pt x="4096" y="24"/>
                    <a:pt x="4096" y="33"/>
                  </a:cubicBezTo>
                  <a:cubicBezTo>
                    <a:pt x="4096" y="42"/>
                    <a:pt x="4089" y="49"/>
                    <a:pt x="4080" y="49"/>
                  </a:cubicBezTo>
                  <a:lnTo>
                    <a:pt x="3856" y="48"/>
                  </a:lnTo>
                  <a:cubicBezTo>
                    <a:pt x="3847" y="48"/>
                    <a:pt x="3840" y="41"/>
                    <a:pt x="3840" y="32"/>
                  </a:cubicBezTo>
                  <a:cubicBezTo>
                    <a:pt x="3840" y="23"/>
                    <a:pt x="3847" y="16"/>
                    <a:pt x="3856" y="16"/>
                  </a:cubicBezTo>
                  <a:close/>
                  <a:moveTo>
                    <a:pt x="4240" y="17"/>
                  </a:moveTo>
                  <a:lnTo>
                    <a:pt x="4464" y="18"/>
                  </a:lnTo>
                  <a:cubicBezTo>
                    <a:pt x="4473" y="18"/>
                    <a:pt x="4480" y="26"/>
                    <a:pt x="4480" y="34"/>
                  </a:cubicBezTo>
                  <a:cubicBezTo>
                    <a:pt x="4480" y="43"/>
                    <a:pt x="4473" y="50"/>
                    <a:pt x="4464" y="50"/>
                  </a:cubicBezTo>
                  <a:lnTo>
                    <a:pt x="4240" y="49"/>
                  </a:lnTo>
                  <a:cubicBezTo>
                    <a:pt x="4231" y="49"/>
                    <a:pt x="4224" y="42"/>
                    <a:pt x="4224" y="33"/>
                  </a:cubicBezTo>
                  <a:cubicBezTo>
                    <a:pt x="4224" y="24"/>
                    <a:pt x="4231" y="17"/>
                    <a:pt x="4240" y="17"/>
                  </a:cubicBezTo>
                  <a:close/>
                  <a:moveTo>
                    <a:pt x="4624" y="19"/>
                  </a:moveTo>
                  <a:lnTo>
                    <a:pt x="4848" y="20"/>
                  </a:lnTo>
                  <a:cubicBezTo>
                    <a:pt x="4857" y="20"/>
                    <a:pt x="4864" y="27"/>
                    <a:pt x="4864" y="36"/>
                  </a:cubicBezTo>
                  <a:cubicBezTo>
                    <a:pt x="4864" y="45"/>
                    <a:pt x="4857" y="52"/>
                    <a:pt x="4848" y="52"/>
                  </a:cubicBezTo>
                  <a:lnTo>
                    <a:pt x="4624" y="51"/>
                  </a:lnTo>
                  <a:cubicBezTo>
                    <a:pt x="4615" y="51"/>
                    <a:pt x="4608" y="44"/>
                    <a:pt x="4608" y="35"/>
                  </a:cubicBezTo>
                  <a:cubicBezTo>
                    <a:pt x="4608" y="26"/>
                    <a:pt x="4615" y="19"/>
                    <a:pt x="4624" y="19"/>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11">
              <a:extLst>
                <a:ext uri="{FF2B5EF4-FFF2-40B4-BE49-F238E27FC236}">
                  <a16:creationId xmlns:a16="http://schemas.microsoft.com/office/drawing/2014/main" id="{39951F26-B1BE-435B-8EE9-7BD284B43A9C}"/>
                </a:ext>
              </a:extLst>
            </p:cNvPr>
            <p:cNvSpPr>
              <a:spLocks/>
            </p:cNvSpPr>
            <p:nvPr/>
          </p:nvSpPr>
          <p:spPr bwMode="auto">
            <a:xfrm>
              <a:off x="5505451" y="3759200"/>
              <a:ext cx="100013" cy="100013"/>
            </a:xfrm>
            <a:custGeom>
              <a:avLst/>
              <a:gdLst>
                <a:gd name="T0" fmla="*/ 279 w 279"/>
                <a:gd name="T1" fmla="*/ 141 h 279"/>
                <a:gd name="T2" fmla="*/ 0 w 279"/>
                <a:gd name="T3" fmla="*/ 279 h 279"/>
                <a:gd name="T4" fmla="*/ 1 w 279"/>
                <a:gd name="T5" fmla="*/ 0 h 279"/>
                <a:gd name="T6" fmla="*/ 279 w 279"/>
                <a:gd name="T7" fmla="*/ 141 h 279"/>
              </a:gdLst>
              <a:ahLst/>
              <a:cxnLst>
                <a:cxn ang="0">
                  <a:pos x="T0" y="T1"/>
                </a:cxn>
                <a:cxn ang="0">
                  <a:pos x="T2" y="T3"/>
                </a:cxn>
                <a:cxn ang="0">
                  <a:pos x="T4" y="T5"/>
                </a:cxn>
                <a:cxn ang="0">
                  <a:pos x="T6" y="T7"/>
                </a:cxn>
              </a:cxnLst>
              <a:rect l="0" t="0" r="r" b="b"/>
              <a:pathLst>
                <a:path w="279" h="279">
                  <a:moveTo>
                    <a:pt x="279" y="141"/>
                  </a:moveTo>
                  <a:lnTo>
                    <a:pt x="0" y="279"/>
                  </a:lnTo>
                  <a:cubicBezTo>
                    <a:pt x="44" y="192"/>
                    <a:pt x="45" y="88"/>
                    <a:pt x="1" y="0"/>
                  </a:cubicBezTo>
                  <a:lnTo>
                    <a:pt x="279" y="14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12">
              <a:extLst>
                <a:ext uri="{FF2B5EF4-FFF2-40B4-BE49-F238E27FC236}">
                  <a16:creationId xmlns:a16="http://schemas.microsoft.com/office/drawing/2014/main" id="{89396D82-FA83-483F-8BF1-87A5F4304762}"/>
                </a:ext>
              </a:extLst>
            </p:cNvPr>
            <p:cNvSpPr>
              <a:spLocks noChangeArrowheads="1"/>
            </p:cNvSpPr>
            <p:nvPr/>
          </p:nvSpPr>
          <p:spPr bwMode="auto">
            <a:xfrm>
              <a:off x="4391026" y="3819525"/>
              <a:ext cx="69730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officers expor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0" name="Freeform 18">
              <a:extLst>
                <a:ext uri="{FF2B5EF4-FFF2-40B4-BE49-F238E27FC236}">
                  <a16:creationId xmlns:a16="http://schemas.microsoft.com/office/drawing/2014/main" id="{837ED8E9-1F47-4A24-A013-C4533D6478B8}"/>
                </a:ext>
              </a:extLst>
            </p:cNvPr>
            <p:cNvSpPr>
              <a:spLocks/>
            </p:cNvSpPr>
            <p:nvPr/>
          </p:nvSpPr>
          <p:spPr bwMode="auto">
            <a:xfrm>
              <a:off x="5605463" y="3660775"/>
              <a:ext cx="258763" cy="295275"/>
            </a:xfrm>
            <a:custGeom>
              <a:avLst/>
              <a:gdLst>
                <a:gd name="T0" fmla="*/ 1 w 721"/>
                <a:gd name="T1" fmla="*/ 80 h 822"/>
                <a:gd name="T2" fmla="*/ 63 w 721"/>
                <a:gd name="T3" fmla="*/ 12 h 822"/>
                <a:gd name="T4" fmla="*/ 86 w 721"/>
                <a:gd name="T5" fmla="*/ 3 h 822"/>
                <a:gd name="T6" fmla="*/ 675 w 721"/>
                <a:gd name="T7" fmla="*/ 3 h 822"/>
                <a:gd name="T8" fmla="*/ 720 w 721"/>
                <a:gd name="T9" fmla="*/ 38 h 822"/>
                <a:gd name="T10" fmla="*/ 720 w 721"/>
                <a:gd name="T11" fmla="*/ 43 h 822"/>
                <a:gd name="T12" fmla="*/ 720 w 721"/>
                <a:gd name="T13" fmla="*/ 743 h 822"/>
                <a:gd name="T14" fmla="*/ 710 w 721"/>
                <a:gd name="T15" fmla="*/ 764 h 822"/>
                <a:gd name="T16" fmla="*/ 644 w 721"/>
                <a:gd name="T17" fmla="*/ 822 h 822"/>
                <a:gd name="T18" fmla="*/ 42 w 721"/>
                <a:gd name="T19" fmla="*/ 822 h 822"/>
                <a:gd name="T20" fmla="*/ 0 w 721"/>
                <a:gd name="T21" fmla="*/ 806 h 822"/>
                <a:gd name="T22" fmla="*/ 1 w 721"/>
                <a:gd name="T23" fmla="*/ 8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1" h="822">
                  <a:moveTo>
                    <a:pt x="1" y="80"/>
                  </a:moveTo>
                  <a:lnTo>
                    <a:pt x="63" y="12"/>
                  </a:lnTo>
                  <a:cubicBezTo>
                    <a:pt x="69" y="6"/>
                    <a:pt x="77" y="2"/>
                    <a:pt x="86" y="3"/>
                  </a:cubicBezTo>
                  <a:lnTo>
                    <a:pt x="675" y="3"/>
                  </a:lnTo>
                  <a:cubicBezTo>
                    <a:pt x="698" y="0"/>
                    <a:pt x="718" y="16"/>
                    <a:pt x="720" y="38"/>
                  </a:cubicBezTo>
                  <a:cubicBezTo>
                    <a:pt x="720" y="39"/>
                    <a:pt x="721" y="41"/>
                    <a:pt x="720" y="43"/>
                  </a:cubicBezTo>
                  <a:lnTo>
                    <a:pt x="720" y="743"/>
                  </a:lnTo>
                  <a:cubicBezTo>
                    <a:pt x="720" y="751"/>
                    <a:pt x="717" y="759"/>
                    <a:pt x="710" y="764"/>
                  </a:cubicBezTo>
                  <a:lnTo>
                    <a:pt x="644" y="822"/>
                  </a:lnTo>
                  <a:lnTo>
                    <a:pt x="42" y="822"/>
                  </a:lnTo>
                  <a:lnTo>
                    <a:pt x="0" y="806"/>
                  </a:lnTo>
                  <a:lnTo>
                    <a:pt x="1" y="80"/>
                  </a:lnTo>
                  <a:close/>
                </a:path>
              </a:pathLst>
            </a:custGeom>
            <a:solidFill>
              <a:srgbClr val="005BA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9">
              <a:extLst>
                <a:ext uri="{FF2B5EF4-FFF2-40B4-BE49-F238E27FC236}">
                  <a16:creationId xmlns:a16="http://schemas.microsoft.com/office/drawing/2014/main" id="{61B77F18-F221-43EF-A92B-955DDC6AE7C0}"/>
                </a:ext>
              </a:extLst>
            </p:cNvPr>
            <p:cNvSpPr>
              <a:spLocks/>
            </p:cNvSpPr>
            <p:nvPr/>
          </p:nvSpPr>
          <p:spPr bwMode="auto">
            <a:xfrm>
              <a:off x="5624513" y="3671888"/>
              <a:ext cx="227013" cy="273050"/>
            </a:xfrm>
            <a:custGeom>
              <a:avLst/>
              <a:gdLst>
                <a:gd name="T0" fmla="*/ 0 w 635"/>
                <a:gd name="T1" fmla="*/ 49 h 760"/>
                <a:gd name="T2" fmla="*/ 38 w 635"/>
                <a:gd name="T3" fmla="*/ 8 h 760"/>
                <a:gd name="T4" fmla="*/ 56 w 635"/>
                <a:gd name="T5" fmla="*/ 0 h 760"/>
                <a:gd name="T6" fmla="*/ 609 w 635"/>
                <a:gd name="T7" fmla="*/ 0 h 760"/>
                <a:gd name="T8" fmla="*/ 635 w 635"/>
                <a:gd name="T9" fmla="*/ 25 h 760"/>
                <a:gd name="T10" fmla="*/ 635 w 635"/>
                <a:gd name="T11" fmla="*/ 691 h 760"/>
                <a:gd name="T12" fmla="*/ 626 w 635"/>
                <a:gd name="T13" fmla="*/ 709 h 760"/>
                <a:gd name="T14" fmla="*/ 567 w 635"/>
                <a:gd name="T15" fmla="*/ 760 h 760"/>
                <a:gd name="T16" fmla="*/ 0 w 635"/>
                <a:gd name="T17" fmla="*/ 4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760">
                  <a:moveTo>
                    <a:pt x="0" y="49"/>
                  </a:moveTo>
                  <a:lnTo>
                    <a:pt x="38" y="8"/>
                  </a:lnTo>
                  <a:cubicBezTo>
                    <a:pt x="42" y="3"/>
                    <a:pt x="49" y="0"/>
                    <a:pt x="56" y="0"/>
                  </a:cubicBezTo>
                  <a:lnTo>
                    <a:pt x="609" y="0"/>
                  </a:lnTo>
                  <a:cubicBezTo>
                    <a:pt x="623" y="0"/>
                    <a:pt x="635" y="11"/>
                    <a:pt x="635" y="25"/>
                  </a:cubicBezTo>
                  <a:lnTo>
                    <a:pt x="635" y="691"/>
                  </a:lnTo>
                  <a:cubicBezTo>
                    <a:pt x="635" y="698"/>
                    <a:pt x="632" y="705"/>
                    <a:pt x="626" y="709"/>
                  </a:cubicBezTo>
                  <a:lnTo>
                    <a:pt x="567" y="760"/>
                  </a:lnTo>
                  <a:lnTo>
                    <a:pt x="0" y="4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20">
              <a:extLst>
                <a:ext uri="{FF2B5EF4-FFF2-40B4-BE49-F238E27FC236}">
                  <a16:creationId xmlns:a16="http://schemas.microsoft.com/office/drawing/2014/main" id="{347F577E-F6D6-4774-9D36-2ADCF218537D}"/>
                </a:ext>
              </a:extLst>
            </p:cNvPr>
            <p:cNvSpPr>
              <a:spLocks noChangeArrowheads="1"/>
            </p:cNvSpPr>
            <p:nvPr/>
          </p:nvSpPr>
          <p:spPr bwMode="auto">
            <a:xfrm>
              <a:off x="5602288" y="3689350"/>
              <a:ext cx="234950" cy="22225"/>
            </a:xfrm>
            <a:prstGeom prst="rect">
              <a:avLst/>
            </a:prstGeom>
            <a:solidFill>
              <a:srgbClr val="54A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21">
              <a:extLst>
                <a:ext uri="{FF2B5EF4-FFF2-40B4-BE49-F238E27FC236}">
                  <a16:creationId xmlns:a16="http://schemas.microsoft.com/office/drawing/2014/main" id="{B4F480B4-4A23-4650-BA96-32CF53FF0011}"/>
                </a:ext>
              </a:extLst>
            </p:cNvPr>
            <p:cNvSpPr>
              <a:spLocks noChangeArrowheads="1"/>
            </p:cNvSpPr>
            <p:nvPr/>
          </p:nvSpPr>
          <p:spPr bwMode="auto">
            <a:xfrm>
              <a:off x="5602288" y="3711575"/>
              <a:ext cx="234950" cy="6350"/>
            </a:xfrm>
            <a:prstGeom prst="rect">
              <a:avLst/>
            </a:prstGeom>
            <a:solidFill>
              <a:srgbClr val="53AD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22">
              <a:extLst>
                <a:ext uri="{FF2B5EF4-FFF2-40B4-BE49-F238E27FC236}">
                  <a16:creationId xmlns:a16="http://schemas.microsoft.com/office/drawing/2014/main" id="{01AA3D4A-A8E3-4B86-91CF-8A3D01691567}"/>
                </a:ext>
              </a:extLst>
            </p:cNvPr>
            <p:cNvSpPr>
              <a:spLocks noChangeArrowheads="1"/>
            </p:cNvSpPr>
            <p:nvPr/>
          </p:nvSpPr>
          <p:spPr bwMode="auto">
            <a:xfrm>
              <a:off x="5602288" y="3717925"/>
              <a:ext cx="234950" cy="6350"/>
            </a:xfrm>
            <a:prstGeom prst="rect">
              <a:avLst/>
            </a:prstGeom>
            <a:solidFill>
              <a:srgbClr val="52AD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23">
              <a:extLst>
                <a:ext uri="{FF2B5EF4-FFF2-40B4-BE49-F238E27FC236}">
                  <a16:creationId xmlns:a16="http://schemas.microsoft.com/office/drawing/2014/main" id="{A170ED49-AEA2-4BA7-B168-7A64078C8E63}"/>
                </a:ext>
              </a:extLst>
            </p:cNvPr>
            <p:cNvSpPr>
              <a:spLocks noChangeArrowheads="1"/>
            </p:cNvSpPr>
            <p:nvPr/>
          </p:nvSpPr>
          <p:spPr bwMode="auto">
            <a:xfrm>
              <a:off x="5602288" y="3724275"/>
              <a:ext cx="234950" cy="4763"/>
            </a:xfrm>
            <a:prstGeom prst="rect">
              <a:avLst/>
            </a:prstGeom>
            <a:solidFill>
              <a:srgbClr val="51AC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24">
              <a:extLst>
                <a:ext uri="{FF2B5EF4-FFF2-40B4-BE49-F238E27FC236}">
                  <a16:creationId xmlns:a16="http://schemas.microsoft.com/office/drawing/2014/main" id="{06AAAEF0-61EE-4517-AB4F-420458E693BA}"/>
                </a:ext>
              </a:extLst>
            </p:cNvPr>
            <p:cNvSpPr>
              <a:spLocks noChangeArrowheads="1"/>
            </p:cNvSpPr>
            <p:nvPr/>
          </p:nvSpPr>
          <p:spPr bwMode="auto">
            <a:xfrm>
              <a:off x="5602288" y="3729038"/>
              <a:ext cx="234950" cy="6350"/>
            </a:xfrm>
            <a:prstGeom prst="rect">
              <a:avLst/>
            </a:prstGeom>
            <a:solidFill>
              <a:srgbClr val="50A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25">
              <a:extLst>
                <a:ext uri="{FF2B5EF4-FFF2-40B4-BE49-F238E27FC236}">
                  <a16:creationId xmlns:a16="http://schemas.microsoft.com/office/drawing/2014/main" id="{B25C1F7D-8184-4E8B-9EA9-989408BD300A}"/>
                </a:ext>
              </a:extLst>
            </p:cNvPr>
            <p:cNvSpPr>
              <a:spLocks noChangeArrowheads="1"/>
            </p:cNvSpPr>
            <p:nvPr/>
          </p:nvSpPr>
          <p:spPr bwMode="auto">
            <a:xfrm>
              <a:off x="5602288" y="3735388"/>
              <a:ext cx="234950" cy="4763"/>
            </a:xfrm>
            <a:prstGeom prst="rect">
              <a:avLst/>
            </a:prstGeom>
            <a:solidFill>
              <a:srgbClr val="4EAA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26">
              <a:extLst>
                <a:ext uri="{FF2B5EF4-FFF2-40B4-BE49-F238E27FC236}">
                  <a16:creationId xmlns:a16="http://schemas.microsoft.com/office/drawing/2014/main" id="{2BCDD626-1802-481D-A944-80B6872E59F4}"/>
                </a:ext>
              </a:extLst>
            </p:cNvPr>
            <p:cNvSpPr>
              <a:spLocks noChangeArrowheads="1"/>
            </p:cNvSpPr>
            <p:nvPr/>
          </p:nvSpPr>
          <p:spPr bwMode="auto">
            <a:xfrm>
              <a:off x="5602288" y="3740150"/>
              <a:ext cx="234950" cy="6350"/>
            </a:xfrm>
            <a:prstGeom prst="rect">
              <a:avLst/>
            </a:prstGeom>
            <a:solidFill>
              <a:srgbClr val="4DAA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27">
              <a:extLst>
                <a:ext uri="{FF2B5EF4-FFF2-40B4-BE49-F238E27FC236}">
                  <a16:creationId xmlns:a16="http://schemas.microsoft.com/office/drawing/2014/main" id="{38AD930B-D215-4E45-BD3D-B5E92953FA63}"/>
                </a:ext>
              </a:extLst>
            </p:cNvPr>
            <p:cNvSpPr>
              <a:spLocks noChangeArrowheads="1"/>
            </p:cNvSpPr>
            <p:nvPr/>
          </p:nvSpPr>
          <p:spPr bwMode="auto">
            <a:xfrm>
              <a:off x="5602288" y="3746500"/>
              <a:ext cx="234950" cy="6350"/>
            </a:xfrm>
            <a:prstGeom prst="rect">
              <a:avLst/>
            </a:prstGeom>
            <a:solidFill>
              <a:srgbClr val="4CA9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28">
              <a:extLst>
                <a:ext uri="{FF2B5EF4-FFF2-40B4-BE49-F238E27FC236}">
                  <a16:creationId xmlns:a16="http://schemas.microsoft.com/office/drawing/2014/main" id="{B19AF545-D309-4ADF-AF54-CC0390DFC265}"/>
                </a:ext>
              </a:extLst>
            </p:cNvPr>
            <p:cNvSpPr>
              <a:spLocks noChangeArrowheads="1"/>
            </p:cNvSpPr>
            <p:nvPr/>
          </p:nvSpPr>
          <p:spPr bwMode="auto">
            <a:xfrm>
              <a:off x="5602288" y="3752850"/>
              <a:ext cx="234950" cy="4763"/>
            </a:xfrm>
            <a:prstGeom prst="rect">
              <a:avLst/>
            </a:prstGeom>
            <a:solidFill>
              <a:srgbClr val="4AA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9">
              <a:extLst>
                <a:ext uri="{FF2B5EF4-FFF2-40B4-BE49-F238E27FC236}">
                  <a16:creationId xmlns:a16="http://schemas.microsoft.com/office/drawing/2014/main" id="{7A34F1FB-D355-4457-9FA7-3439C7AAF75A}"/>
                </a:ext>
              </a:extLst>
            </p:cNvPr>
            <p:cNvSpPr>
              <a:spLocks noChangeArrowheads="1"/>
            </p:cNvSpPr>
            <p:nvPr/>
          </p:nvSpPr>
          <p:spPr bwMode="auto">
            <a:xfrm>
              <a:off x="5602288" y="3757613"/>
              <a:ext cx="234950" cy="6350"/>
            </a:xfrm>
            <a:prstGeom prst="rect">
              <a:avLst/>
            </a:prstGeom>
            <a:solidFill>
              <a:srgbClr val="49A7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30">
              <a:extLst>
                <a:ext uri="{FF2B5EF4-FFF2-40B4-BE49-F238E27FC236}">
                  <a16:creationId xmlns:a16="http://schemas.microsoft.com/office/drawing/2014/main" id="{372B2F0A-4898-4257-AC69-9FE3228FDA01}"/>
                </a:ext>
              </a:extLst>
            </p:cNvPr>
            <p:cNvSpPr>
              <a:spLocks noChangeArrowheads="1"/>
            </p:cNvSpPr>
            <p:nvPr/>
          </p:nvSpPr>
          <p:spPr bwMode="auto">
            <a:xfrm>
              <a:off x="5602288" y="3763963"/>
              <a:ext cx="234950" cy="6350"/>
            </a:xfrm>
            <a:prstGeom prst="rect">
              <a:avLst/>
            </a:prstGeom>
            <a:solidFill>
              <a:srgbClr val="48A6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31">
              <a:extLst>
                <a:ext uri="{FF2B5EF4-FFF2-40B4-BE49-F238E27FC236}">
                  <a16:creationId xmlns:a16="http://schemas.microsoft.com/office/drawing/2014/main" id="{138FB932-23D4-4A6C-817B-5E7105BB48C1}"/>
                </a:ext>
              </a:extLst>
            </p:cNvPr>
            <p:cNvSpPr>
              <a:spLocks noChangeArrowheads="1"/>
            </p:cNvSpPr>
            <p:nvPr/>
          </p:nvSpPr>
          <p:spPr bwMode="auto">
            <a:xfrm>
              <a:off x="5602288" y="3770313"/>
              <a:ext cx="234950" cy="4763"/>
            </a:xfrm>
            <a:prstGeom prst="rect">
              <a:avLst/>
            </a:prstGeom>
            <a:solidFill>
              <a:srgbClr val="46A5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32">
              <a:extLst>
                <a:ext uri="{FF2B5EF4-FFF2-40B4-BE49-F238E27FC236}">
                  <a16:creationId xmlns:a16="http://schemas.microsoft.com/office/drawing/2014/main" id="{77E7C660-2D82-42EC-8478-AA45C7B7ABE9}"/>
                </a:ext>
              </a:extLst>
            </p:cNvPr>
            <p:cNvSpPr>
              <a:spLocks noChangeArrowheads="1"/>
            </p:cNvSpPr>
            <p:nvPr/>
          </p:nvSpPr>
          <p:spPr bwMode="auto">
            <a:xfrm>
              <a:off x="5602288" y="3775075"/>
              <a:ext cx="234950" cy="6350"/>
            </a:xfrm>
            <a:prstGeom prst="rect">
              <a:avLst/>
            </a:prstGeom>
            <a:solidFill>
              <a:srgbClr val="45A4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33">
              <a:extLst>
                <a:ext uri="{FF2B5EF4-FFF2-40B4-BE49-F238E27FC236}">
                  <a16:creationId xmlns:a16="http://schemas.microsoft.com/office/drawing/2014/main" id="{B6CFD350-4BCA-40E0-9184-C874DB44DE2B}"/>
                </a:ext>
              </a:extLst>
            </p:cNvPr>
            <p:cNvSpPr>
              <a:spLocks noChangeArrowheads="1"/>
            </p:cNvSpPr>
            <p:nvPr/>
          </p:nvSpPr>
          <p:spPr bwMode="auto">
            <a:xfrm>
              <a:off x="5602288" y="3781425"/>
              <a:ext cx="234950" cy="4763"/>
            </a:xfrm>
            <a:prstGeom prst="rect">
              <a:avLst/>
            </a:prstGeom>
            <a:solidFill>
              <a:srgbClr val="43A3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34">
              <a:extLst>
                <a:ext uri="{FF2B5EF4-FFF2-40B4-BE49-F238E27FC236}">
                  <a16:creationId xmlns:a16="http://schemas.microsoft.com/office/drawing/2014/main" id="{3A5580E9-00EC-449F-A893-03B283E4FFEB}"/>
                </a:ext>
              </a:extLst>
            </p:cNvPr>
            <p:cNvSpPr>
              <a:spLocks noChangeArrowheads="1"/>
            </p:cNvSpPr>
            <p:nvPr/>
          </p:nvSpPr>
          <p:spPr bwMode="auto">
            <a:xfrm>
              <a:off x="5602288" y="3786188"/>
              <a:ext cx="234950" cy="6350"/>
            </a:xfrm>
            <a:prstGeom prst="rect">
              <a:avLst/>
            </a:prstGeom>
            <a:solidFill>
              <a:srgbClr val="42A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DF01FDEC-38DE-483A-B576-A3C9A273C6AF}"/>
                </a:ext>
              </a:extLst>
            </p:cNvPr>
            <p:cNvSpPr>
              <a:spLocks noChangeArrowheads="1"/>
            </p:cNvSpPr>
            <p:nvPr/>
          </p:nvSpPr>
          <p:spPr bwMode="auto">
            <a:xfrm>
              <a:off x="5602288" y="3792538"/>
              <a:ext cx="234950" cy="6350"/>
            </a:xfrm>
            <a:prstGeom prst="rect">
              <a:avLst/>
            </a:prstGeom>
            <a:solidFill>
              <a:srgbClr val="41A1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35094307-CDB2-485D-9E78-95B235C9ACF8}"/>
                </a:ext>
              </a:extLst>
            </p:cNvPr>
            <p:cNvSpPr>
              <a:spLocks noChangeArrowheads="1"/>
            </p:cNvSpPr>
            <p:nvPr/>
          </p:nvSpPr>
          <p:spPr bwMode="auto">
            <a:xfrm>
              <a:off x="5602288" y="3798888"/>
              <a:ext cx="234950" cy="4763"/>
            </a:xfrm>
            <a:prstGeom prst="rect">
              <a:avLst/>
            </a:prstGeom>
            <a:solidFill>
              <a:srgbClr val="3FA1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A0CF2443-D7D8-4FD2-AEBA-1D84E515443A}"/>
                </a:ext>
              </a:extLst>
            </p:cNvPr>
            <p:cNvSpPr>
              <a:spLocks noChangeArrowheads="1"/>
            </p:cNvSpPr>
            <p:nvPr/>
          </p:nvSpPr>
          <p:spPr bwMode="auto">
            <a:xfrm>
              <a:off x="5602288" y="3803650"/>
              <a:ext cx="234950" cy="6350"/>
            </a:xfrm>
            <a:prstGeom prst="rect">
              <a:avLst/>
            </a:prstGeom>
            <a:solidFill>
              <a:srgbClr val="3EA0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A4906FAD-CC51-45B3-A862-EA62452B1C4D}"/>
                </a:ext>
              </a:extLst>
            </p:cNvPr>
            <p:cNvSpPr>
              <a:spLocks noChangeArrowheads="1"/>
            </p:cNvSpPr>
            <p:nvPr/>
          </p:nvSpPr>
          <p:spPr bwMode="auto">
            <a:xfrm>
              <a:off x="5602288" y="3810000"/>
              <a:ext cx="234950" cy="4763"/>
            </a:xfrm>
            <a:prstGeom prst="rect">
              <a:avLst/>
            </a:prstGeom>
            <a:solidFill>
              <a:srgbClr val="3D9F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E81F15B9-FE2E-4958-BC0C-7DD328ECAF46}"/>
                </a:ext>
              </a:extLst>
            </p:cNvPr>
            <p:cNvSpPr>
              <a:spLocks noChangeArrowheads="1"/>
            </p:cNvSpPr>
            <p:nvPr/>
          </p:nvSpPr>
          <p:spPr bwMode="auto">
            <a:xfrm>
              <a:off x="5602288" y="3814763"/>
              <a:ext cx="234950" cy="6350"/>
            </a:xfrm>
            <a:prstGeom prst="rect">
              <a:avLst/>
            </a:prstGeom>
            <a:solidFill>
              <a:srgbClr val="3B9E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F89E1313-A506-4E06-ACF4-5CD9D6C88220}"/>
                </a:ext>
              </a:extLst>
            </p:cNvPr>
            <p:cNvSpPr>
              <a:spLocks noChangeArrowheads="1"/>
            </p:cNvSpPr>
            <p:nvPr/>
          </p:nvSpPr>
          <p:spPr bwMode="auto">
            <a:xfrm>
              <a:off x="5602288" y="3821113"/>
              <a:ext cx="234950" cy="6350"/>
            </a:xfrm>
            <a:prstGeom prst="rect">
              <a:avLst/>
            </a:prstGeom>
            <a:solidFill>
              <a:srgbClr val="3A9D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810C5049-E349-483F-9636-D6CA6A748DE2}"/>
                </a:ext>
              </a:extLst>
            </p:cNvPr>
            <p:cNvSpPr>
              <a:spLocks noChangeArrowheads="1"/>
            </p:cNvSpPr>
            <p:nvPr/>
          </p:nvSpPr>
          <p:spPr bwMode="auto">
            <a:xfrm>
              <a:off x="5602288" y="3827463"/>
              <a:ext cx="234950" cy="4763"/>
            </a:xfrm>
            <a:prstGeom prst="rect">
              <a:avLst/>
            </a:prstGeom>
            <a:solidFill>
              <a:srgbClr val="389C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3FBFAC41-9227-4295-92A3-56BD20C61CF1}"/>
                </a:ext>
              </a:extLst>
            </p:cNvPr>
            <p:cNvSpPr>
              <a:spLocks noChangeArrowheads="1"/>
            </p:cNvSpPr>
            <p:nvPr/>
          </p:nvSpPr>
          <p:spPr bwMode="auto">
            <a:xfrm>
              <a:off x="5602288" y="3832225"/>
              <a:ext cx="234950" cy="6350"/>
            </a:xfrm>
            <a:prstGeom prst="rect">
              <a:avLst/>
            </a:prstGeom>
            <a:solidFill>
              <a:srgbClr val="379B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648F7D39-E24B-411E-A723-C25903CB89B8}"/>
                </a:ext>
              </a:extLst>
            </p:cNvPr>
            <p:cNvSpPr>
              <a:spLocks noChangeArrowheads="1"/>
            </p:cNvSpPr>
            <p:nvPr/>
          </p:nvSpPr>
          <p:spPr bwMode="auto">
            <a:xfrm>
              <a:off x="5602288" y="3838575"/>
              <a:ext cx="234950" cy="4763"/>
            </a:xfrm>
            <a:prstGeom prst="rect">
              <a:avLst/>
            </a:prstGeom>
            <a:solidFill>
              <a:srgbClr val="369A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44">
              <a:extLst>
                <a:ext uri="{FF2B5EF4-FFF2-40B4-BE49-F238E27FC236}">
                  <a16:creationId xmlns:a16="http://schemas.microsoft.com/office/drawing/2014/main" id="{ED2F0456-C3E7-4957-954D-CF10987D3F22}"/>
                </a:ext>
              </a:extLst>
            </p:cNvPr>
            <p:cNvSpPr>
              <a:spLocks noChangeArrowheads="1"/>
            </p:cNvSpPr>
            <p:nvPr/>
          </p:nvSpPr>
          <p:spPr bwMode="auto">
            <a:xfrm>
              <a:off x="5602288" y="3843338"/>
              <a:ext cx="234950" cy="6350"/>
            </a:xfrm>
            <a:prstGeom prst="rect">
              <a:avLst/>
            </a:prstGeom>
            <a:solidFill>
              <a:srgbClr val="349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45">
              <a:extLst>
                <a:ext uri="{FF2B5EF4-FFF2-40B4-BE49-F238E27FC236}">
                  <a16:creationId xmlns:a16="http://schemas.microsoft.com/office/drawing/2014/main" id="{6063A6C0-B263-4EC5-A294-4BCD754E0F3B}"/>
                </a:ext>
              </a:extLst>
            </p:cNvPr>
            <p:cNvSpPr>
              <a:spLocks noChangeArrowheads="1"/>
            </p:cNvSpPr>
            <p:nvPr/>
          </p:nvSpPr>
          <p:spPr bwMode="auto">
            <a:xfrm>
              <a:off x="5602288" y="3849688"/>
              <a:ext cx="234950" cy="6350"/>
            </a:xfrm>
            <a:prstGeom prst="rect">
              <a:avLst/>
            </a:prstGeom>
            <a:solidFill>
              <a:srgbClr val="339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46">
              <a:extLst>
                <a:ext uri="{FF2B5EF4-FFF2-40B4-BE49-F238E27FC236}">
                  <a16:creationId xmlns:a16="http://schemas.microsoft.com/office/drawing/2014/main" id="{3FD3F794-CB9E-4ADE-B9B0-731301999E5A}"/>
                </a:ext>
              </a:extLst>
            </p:cNvPr>
            <p:cNvSpPr>
              <a:spLocks noChangeArrowheads="1"/>
            </p:cNvSpPr>
            <p:nvPr/>
          </p:nvSpPr>
          <p:spPr bwMode="auto">
            <a:xfrm>
              <a:off x="5602288" y="3856038"/>
              <a:ext cx="234950" cy="4763"/>
            </a:xfrm>
            <a:prstGeom prst="rect">
              <a:avLst/>
            </a:prstGeom>
            <a:solidFill>
              <a:srgbClr val="3198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7">
              <a:extLst>
                <a:ext uri="{FF2B5EF4-FFF2-40B4-BE49-F238E27FC236}">
                  <a16:creationId xmlns:a16="http://schemas.microsoft.com/office/drawing/2014/main" id="{59E80092-ED27-426C-9E0E-A1705670CFCD}"/>
                </a:ext>
              </a:extLst>
            </p:cNvPr>
            <p:cNvSpPr>
              <a:spLocks noChangeArrowheads="1"/>
            </p:cNvSpPr>
            <p:nvPr/>
          </p:nvSpPr>
          <p:spPr bwMode="auto">
            <a:xfrm>
              <a:off x="5602288" y="3860800"/>
              <a:ext cx="234950" cy="6350"/>
            </a:xfrm>
            <a:prstGeom prst="rect">
              <a:avLst/>
            </a:prstGeom>
            <a:solidFill>
              <a:srgbClr val="3097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8">
              <a:extLst>
                <a:ext uri="{FF2B5EF4-FFF2-40B4-BE49-F238E27FC236}">
                  <a16:creationId xmlns:a16="http://schemas.microsoft.com/office/drawing/2014/main" id="{EA1C68A2-58DC-4D11-A31E-4D10B5369487}"/>
                </a:ext>
              </a:extLst>
            </p:cNvPr>
            <p:cNvSpPr>
              <a:spLocks noChangeArrowheads="1"/>
            </p:cNvSpPr>
            <p:nvPr/>
          </p:nvSpPr>
          <p:spPr bwMode="auto">
            <a:xfrm>
              <a:off x="5602288" y="3867150"/>
              <a:ext cx="234950" cy="4763"/>
            </a:xfrm>
            <a:prstGeom prst="rect">
              <a:avLst/>
            </a:prstGeom>
            <a:solidFill>
              <a:srgbClr val="2E96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9">
              <a:extLst>
                <a:ext uri="{FF2B5EF4-FFF2-40B4-BE49-F238E27FC236}">
                  <a16:creationId xmlns:a16="http://schemas.microsoft.com/office/drawing/2014/main" id="{4CE4C6A0-74D0-46B0-A13D-96C5CFCE7B4D}"/>
                </a:ext>
              </a:extLst>
            </p:cNvPr>
            <p:cNvSpPr>
              <a:spLocks noChangeArrowheads="1"/>
            </p:cNvSpPr>
            <p:nvPr/>
          </p:nvSpPr>
          <p:spPr bwMode="auto">
            <a:xfrm>
              <a:off x="5602288" y="3871913"/>
              <a:ext cx="234950" cy="6350"/>
            </a:xfrm>
            <a:prstGeom prst="rect">
              <a:avLst/>
            </a:prstGeom>
            <a:solidFill>
              <a:srgbClr val="2C95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50">
              <a:extLst>
                <a:ext uri="{FF2B5EF4-FFF2-40B4-BE49-F238E27FC236}">
                  <a16:creationId xmlns:a16="http://schemas.microsoft.com/office/drawing/2014/main" id="{95255DDA-D4B5-41E8-98DD-7EE5EABDE090}"/>
                </a:ext>
              </a:extLst>
            </p:cNvPr>
            <p:cNvSpPr>
              <a:spLocks noChangeArrowheads="1"/>
            </p:cNvSpPr>
            <p:nvPr/>
          </p:nvSpPr>
          <p:spPr bwMode="auto">
            <a:xfrm>
              <a:off x="5602288" y="3878263"/>
              <a:ext cx="234950" cy="6350"/>
            </a:xfrm>
            <a:prstGeom prst="rect">
              <a:avLst/>
            </a:prstGeom>
            <a:solidFill>
              <a:srgbClr val="2B94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51">
              <a:extLst>
                <a:ext uri="{FF2B5EF4-FFF2-40B4-BE49-F238E27FC236}">
                  <a16:creationId xmlns:a16="http://schemas.microsoft.com/office/drawing/2014/main" id="{B257CBBC-7479-44AE-B3A8-6A755CB3468B}"/>
                </a:ext>
              </a:extLst>
            </p:cNvPr>
            <p:cNvSpPr>
              <a:spLocks noChangeArrowheads="1"/>
            </p:cNvSpPr>
            <p:nvPr/>
          </p:nvSpPr>
          <p:spPr bwMode="auto">
            <a:xfrm>
              <a:off x="5602288" y="3884613"/>
              <a:ext cx="234950" cy="4763"/>
            </a:xfrm>
            <a:prstGeom prst="rect">
              <a:avLst/>
            </a:prstGeom>
            <a:solidFill>
              <a:srgbClr val="2A9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2">
              <a:extLst>
                <a:ext uri="{FF2B5EF4-FFF2-40B4-BE49-F238E27FC236}">
                  <a16:creationId xmlns:a16="http://schemas.microsoft.com/office/drawing/2014/main" id="{346B33BB-2506-466A-A9B0-BD13A4C5E24B}"/>
                </a:ext>
              </a:extLst>
            </p:cNvPr>
            <p:cNvSpPr>
              <a:spLocks noChangeArrowheads="1"/>
            </p:cNvSpPr>
            <p:nvPr/>
          </p:nvSpPr>
          <p:spPr bwMode="auto">
            <a:xfrm>
              <a:off x="5602288" y="3889375"/>
              <a:ext cx="234950" cy="6350"/>
            </a:xfrm>
            <a:prstGeom prst="rect">
              <a:avLst/>
            </a:prstGeom>
            <a:solidFill>
              <a:srgbClr val="289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53">
              <a:extLst>
                <a:ext uri="{FF2B5EF4-FFF2-40B4-BE49-F238E27FC236}">
                  <a16:creationId xmlns:a16="http://schemas.microsoft.com/office/drawing/2014/main" id="{3CF6665C-EF22-40B7-B36A-069428CD5E68}"/>
                </a:ext>
              </a:extLst>
            </p:cNvPr>
            <p:cNvSpPr>
              <a:spLocks noChangeArrowheads="1"/>
            </p:cNvSpPr>
            <p:nvPr/>
          </p:nvSpPr>
          <p:spPr bwMode="auto">
            <a:xfrm>
              <a:off x="5602288" y="3895725"/>
              <a:ext cx="234950" cy="4763"/>
            </a:xfrm>
            <a:prstGeom prst="rect">
              <a:avLst/>
            </a:prstGeom>
            <a:solidFill>
              <a:srgbClr val="2791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54">
              <a:extLst>
                <a:ext uri="{FF2B5EF4-FFF2-40B4-BE49-F238E27FC236}">
                  <a16:creationId xmlns:a16="http://schemas.microsoft.com/office/drawing/2014/main" id="{489F31A1-F711-417D-8A8F-A3FDF735CC04}"/>
                </a:ext>
              </a:extLst>
            </p:cNvPr>
            <p:cNvSpPr>
              <a:spLocks noChangeArrowheads="1"/>
            </p:cNvSpPr>
            <p:nvPr/>
          </p:nvSpPr>
          <p:spPr bwMode="auto">
            <a:xfrm>
              <a:off x="5602288" y="3900488"/>
              <a:ext cx="234950" cy="6350"/>
            </a:xfrm>
            <a:prstGeom prst="rect">
              <a:avLst/>
            </a:prstGeom>
            <a:solidFill>
              <a:srgbClr val="2690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55">
              <a:extLst>
                <a:ext uri="{FF2B5EF4-FFF2-40B4-BE49-F238E27FC236}">
                  <a16:creationId xmlns:a16="http://schemas.microsoft.com/office/drawing/2014/main" id="{4DCE02CB-D54D-4DB6-901B-E9F0039650BE}"/>
                </a:ext>
              </a:extLst>
            </p:cNvPr>
            <p:cNvSpPr>
              <a:spLocks noChangeArrowheads="1"/>
            </p:cNvSpPr>
            <p:nvPr/>
          </p:nvSpPr>
          <p:spPr bwMode="auto">
            <a:xfrm>
              <a:off x="5602288" y="3906838"/>
              <a:ext cx="234950" cy="6350"/>
            </a:xfrm>
            <a:prstGeom prst="rect">
              <a:avLst/>
            </a:prstGeom>
            <a:solidFill>
              <a:srgbClr val="248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56">
              <a:extLst>
                <a:ext uri="{FF2B5EF4-FFF2-40B4-BE49-F238E27FC236}">
                  <a16:creationId xmlns:a16="http://schemas.microsoft.com/office/drawing/2014/main" id="{35846D26-6E32-46ED-BEE2-06F39C7D364B}"/>
                </a:ext>
              </a:extLst>
            </p:cNvPr>
            <p:cNvSpPr>
              <a:spLocks noChangeArrowheads="1"/>
            </p:cNvSpPr>
            <p:nvPr/>
          </p:nvSpPr>
          <p:spPr bwMode="auto">
            <a:xfrm>
              <a:off x="5602288" y="3913188"/>
              <a:ext cx="234950" cy="4763"/>
            </a:xfrm>
            <a:prstGeom prst="rect">
              <a:avLst/>
            </a:prstGeom>
            <a:solidFill>
              <a:srgbClr val="238E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57">
              <a:extLst>
                <a:ext uri="{FF2B5EF4-FFF2-40B4-BE49-F238E27FC236}">
                  <a16:creationId xmlns:a16="http://schemas.microsoft.com/office/drawing/2014/main" id="{2E2F22C8-AD16-4FC2-8273-A13F0967993C}"/>
                </a:ext>
              </a:extLst>
            </p:cNvPr>
            <p:cNvSpPr>
              <a:spLocks noChangeArrowheads="1"/>
            </p:cNvSpPr>
            <p:nvPr/>
          </p:nvSpPr>
          <p:spPr bwMode="auto">
            <a:xfrm>
              <a:off x="5602288" y="3917950"/>
              <a:ext cx="234950" cy="6350"/>
            </a:xfrm>
            <a:prstGeom prst="rect">
              <a:avLst/>
            </a:prstGeom>
            <a:solidFill>
              <a:srgbClr val="218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58">
              <a:extLst>
                <a:ext uri="{FF2B5EF4-FFF2-40B4-BE49-F238E27FC236}">
                  <a16:creationId xmlns:a16="http://schemas.microsoft.com/office/drawing/2014/main" id="{11DE5964-DD92-479F-B8CA-06FDD4AAB61D}"/>
                </a:ext>
              </a:extLst>
            </p:cNvPr>
            <p:cNvSpPr>
              <a:spLocks noChangeArrowheads="1"/>
            </p:cNvSpPr>
            <p:nvPr/>
          </p:nvSpPr>
          <p:spPr bwMode="auto">
            <a:xfrm>
              <a:off x="5602288" y="3924300"/>
              <a:ext cx="234950" cy="4763"/>
            </a:xfrm>
            <a:prstGeom prst="rect">
              <a:avLst/>
            </a:prstGeom>
            <a:solidFill>
              <a:srgbClr val="208D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59">
              <a:extLst>
                <a:ext uri="{FF2B5EF4-FFF2-40B4-BE49-F238E27FC236}">
                  <a16:creationId xmlns:a16="http://schemas.microsoft.com/office/drawing/2014/main" id="{CF7EDBDD-7D95-4EE2-8552-57337240BC3F}"/>
                </a:ext>
              </a:extLst>
            </p:cNvPr>
            <p:cNvSpPr>
              <a:spLocks noChangeArrowheads="1"/>
            </p:cNvSpPr>
            <p:nvPr/>
          </p:nvSpPr>
          <p:spPr bwMode="auto">
            <a:xfrm>
              <a:off x="5602288" y="3929063"/>
              <a:ext cx="234950" cy="6350"/>
            </a:xfrm>
            <a:prstGeom prst="rect">
              <a:avLst/>
            </a:prstGeom>
            <a:solidFill>
              <a:srgbClr val="1F8C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60">
              <a:extLst>
                <a:ext uri="{FF2B5EF4-FFF2-40B4-BE49-F238E27FC236}">
                  <a16:creationId xmlns:a16="http://schemas.microsoft.com/office/drawing/2014/main" id="{FD9ABFEE-85FC-4882-A74E-3B4F86EC52D3}"/>
                </a:ext>
              </a:extLst>
            </p:cNvPr>
            <p:cNvSpPr>
              <a:spLocks noChangeArrowheads="1"/>
            </p:cNvSpPr>
            <p:nvPr/>
          </p:nvSpPr>
          <p:spPr bwMode="auto">
            <a:xfrm>
              <a:off x="5602288" y="3935413"/>
              <a:ext cx="234950" cy="6350"/>
            </a:xfrm>
            <a:prstGeom prst="rect">
              <a:avLst/>
            </a:prstGeom>
            <a:solidFill>
              <a:srgbClr val="1D8B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61">
              <a:extLst>
                <a:ext uri="{FF2B5EF4-FFF2-40B4-BE49-F238E27FC236}">
                  <a16:creationId xmlns:a16="http://schemas.microsoft.com/office/drawing/2014/main" id="{BB0F56FC-C7CA-482E-AD1C-7C256CA2BA5D}"/>
                </a:ext>
              </a:extLst>
            </p:cNvPr>
            <p:cNvSpPr>
              <a:spLocks noChangeArrowheads="1"/>
            </p:cNvSpPr>
            <p:nvPr/>
          </p:nvSpPr>
          <p:spPr bwMode="auto">
            <a:xfrm>
              <a:off x="5602288" y="3941763"/>
              <a:ext cx="234950" cy="4763"/>
            </a:xfrm>
            <a:prstGeom prst="rect">
              <a:avLst/>
            </a:prstGeom>
            <a:solidFill>
              <a:srgbClr val="1C8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2">
              <a:extLst>
                <a:ext uri="{FF2B5EF4-FFF2-40B4-BE49-F238E27FC236}">
                  <a16:creationId xmlns:a16="http://schemas.microsoft.com/office/drawing/2014/main" id="{D7098CAA-F94A-403F-BD15-8780DAA6AED7}"/>
                </a:ext>
              </a:extLst>
            </p:cNvPr>
            <p:cNvSpPr>
              <a:spLocks noChangeArrowheads="1"/>
            </p:cNvSpPr>
            <p:nvPr/>
          </p:nvSpPr>
          <p:spPr bwMode="auto">
            <a:xfrm>
              <a:off x="5602288" y="3946525"/>
              <a:ext cx="234950" cy="6350"/>
            </a:xfrm>
            <a:prstGeom prst="rect">
              <a:avLst/>
            </a:prstGeom>
            <a:solidFill>
              <a:srgbClr val="1B89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63">
              <a:extLst>
                <a:ext uri="{FF2B5EF4-FFF2-40B4-BE49-F238E27FC236}">
                  <a16:creationId xmlns:a16="http://schemas.microsoft.com/office/drawing/2014/main" id="{881BE307-33A4-43EB-BD9A-43C010EA7FC7}"/>
                </a:ext>
              </a:extLst>
            </p:cNvPr>
            <p:cNvSpPr>
              <a:spLocks noChangeArrowheads="1"/>
            </p:cNvSpPr>
            <p:nvPr/>
          </p:nvSpPr>
          <p:spPr bwMode="auto">
            <a:xfrm>
              <a:off x="5602288" y="3952875"/>
              <a:ext cx="234950" cy="4763"/>
            </a:xfrm>
            <a:prstGeom prst="rect">
              <a:avLst/>
            </a:prstGeom>
            <a:solidFill>
              <a:srgbClr val="1988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64">
              <a:extLst>
                <a:ext uri="{FF2B5EF4-FFF2-40B4-BE49-F238E27FC236}">
                  <a16:creationId xmlns:a16="http://schemas.microsoft.com/office/drawing/2014/main" id="{F0FD145F-FFF1-4297-8482-8F4DD7FABC07}"/>
                </a:ext>
              </a:extLst>
            </p:cNvPr>
            <p:cNvSpPr>
              <a:spLocks noChangeArrowheads="1"/>
            </p:cNvSpPr>
            <p:nvPr/>
          </p:nvSpPr>
          <p:spPr bwMode="auto">
            <a:xfrm>
              <a:off x="5602288" y="3957638"/>
              <a:ext cx="234950" cy="6350"/>
            </a:xfrm>
            <a:prstGeom prst="rect">
              <a:avLst/>
            </a:prstGeom>
            <a:solidFill>
              <a:srgbClr val="1A89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65">
              <a:extLst>
                <a:ext uri="{FF2B5EF4-FFF2-40B4-BE49-F238E27FC236}">
                  <a16:creationId xmlns:a16="http://schemas.microsoft.com/office/drawing/2014/main" id="{D70EE846-7DFC-44E0-B1AC-D6C6010C324C}"/>
                </a:ext>
              </a:extLst>
            </p:cNvPr>
            <p:cNvSpPr>
              <a:spLocks/>
            </p:cNvSpPr>
            <p:nvPr/>
          </p:nvSpPr>
          <p:spPr bwMode="auto">
            <a:xfrm>
              <a:off x="5656263" y="3760788"/>
              <a:ext cx="120650" cy="41275"/>
            </a:xfrm>
            <a:custGeom>
              <a:avLst/>
              <a:gdLst>
                <a:gd name="T0" fmla="*/ 0 w 334"/>
                <a:gd name="T1" fmla="*/ 101 h 115"/>
                <a:gd name="T2" fmla="*/ 14 w 334"/>
                <a:gd name="T3" fmla="*/ 115 h 115"/>
                <a:gd name="T4" fmla="*/ 320 w 334"/>
                <a:gd name="T5" fmla="*/ 115 h 115"/>
                <a:gd name="T6" fmla="*/ 334 w 334"/>
                <a:gd name="T7" fmla="*/ 101 h 115"/>
                <a:gd name="T8" fmla="*/ 334 w 334"/>
                <a:gd name="T9" fmla="*/ 13 h 115"/>
                <a:gd name="T10" fmla="*/ 320 w 334"/>
                <a:gd name="T11" fmla="*/ 0 h 115"/>
                <a:gd name="T12" fmla="*/ 14 w 334"/>
                <a:gd name="T13" fmla="*/ 0 h 115"/>
                <a:gd name="T14" fmla="*/ 0 w 334"/>
                <a:gd name="T15" fmla="*/ 13 h 115"/>
                <a:gd name="T16" fmla="*/ 0 w 334"/>
                <a:gd name="T17" fmla="*/ 10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15">
                  <a:moveTo>
                    <a:pt x="0" y="101"/>
                  </a:moveTo>
                  <a:cubicBezTo>
                    <a:pt x="0" y="109"/>
                    <a:pt x="7" y="115"/>
                    <a:pt x="14" y="115"/>
                  </a:cubicBezTo>
                  <a:lnTo>
                    <a:pt x="320" y="115"/>
                  </a:lnTo>
                  <a:cubicBezTo>
                    <a:pt x="328" y="115"/>
                    <a:pt x="334" y="109"/>
                    <a:pt x="334" y="101"/>
                  </a:cubicBezTo>
                  <a:lnTo>
                    <a:pt x="334" y="13"/>
                  </a:lnTo>
                  <a:cubicBezTo>
                    <a:pt x="334" y="6"/>
                    <a:pt x="328" y="0"/>
                    <a:pt x="320" y="0"/>
                  </a:cubicBezTo>
                  <a:lnTo>
                    <a:pt x="14" y="0"/>
                  </a:lnTo>
                  <a:cubicBezTo>
                    <a:pt x="7" y="0"/>
                    <a:pt x="0" y="6"/>
                    <a:pt x="0" y="13"/>
                  </a:cubicBezTo>
                  <a:lnTo>
                    <a:pt x="0" y="10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Rectangle 66">
              <a:extLst>
                <a:ext uri="{FF2B5EF4-FFF2-40B4-BE49-F238E27FC236}">
                  <a16:creationId xmlns:a16="http://schemas.microsoft.com/office/drawing/2014/main" id="{99A6CB1A-E706-472A-82C4-EA7B58064F38}"/>
                </a:ext>
              </a:extLst>
            </p:cNvPr>
            <p:cNvSpPr>
              <a:spLocks noChangeArrowheads="1"/>
            </p:cNvSpPr>
            <p:nvPr/>
          </p:nvSpPr>
          <p:spPr bwMode="auto">
            <a:xfrm>
              <a:off x="5934076" y="3690938"/>
              <a:ext cx="966788"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Segoe UI" panose="020B0502040204020203" pitchFamily="34" charset="0"/>
                </a:rPr>
                <a:t>DSR Resul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61" name="Group 160">
            <a:extLst>
              <a:ext uri="{FF2B5EF4-FFF2-40B4-BE49-F238E27FC236}">
                <a16:creationId xmlns:a16="http://schemas.microsoft.com/office/drawing/2014/main" id="{89FED8DA-C1B3-498D-886D-3C5AE62B65BD}"/>
              </a:ext>
            </a:extLst>
          </p:cNvPr>
          <p:cNvGrpSpPr/>
          <p:nvPr/>
        </p:nvGrpSpPr>
        <p:grpSpPr>
          <a:xfrm>
            <a:off x="9156577" y="1214651"/>
            <a:ext cx="2554288" cy="1287463"/>
            <a:chOff x="9026525" y="1603375"/>
            <a:chExt cx="2554288" cy="1287463"/>
          </a:xfrm>
        </p:grpSpPr>
        <p:sp>
          <p:nvSpPr>
            <p:cNvPr id="162" name="Rectangle 10">
              <a:extLst>
                <a:ext uri="{FF2B5EF4-FFF2-40B4-BE49-F238E27FC236}">
                  <a16:creationId xmlns:a16="http://schemas.microsoft.com/office/drawing/2014/main" id="{08A171D4-C9C1-409C-81FE-2E7F1576B1CE}"/>
                </a:ext>
              </a:extLst>
            </p:cNvPr>
            <p:cNvSpPr>
              <a:spLocks noChangeArrowheads="1"/>
            </p:cNvSpPr>
            <p:nvPr/>
          </p:nvSpPr>
          <p:spPr bwMode="auto">
            <a:xfrm>
              <a:off x="9275763" y="2239963"/>
              <a:ext cx="69850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sends emai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3" name="Rectangle 11">
              <a:extLst>
                <a:ext uri="{FF2B5EF4-FFF2-40B4-BE49-F238E27FC236}">
                  <a16:creationId xmlns:a16="http://schemas.microsoft.com/office/drawing/2014/main" id="{9CAB2E79-F0D6-46BD-810D-6A0CFCF0D4B6}"/>
                </a:ext>
              </a:extLst>
            </p:cNvPr>
            <p:cNvSpPr>
              <a:spLocks noChangeArrowheads="1"/>
            </p:cNvSpPr>
            <p:nvPr/>
          </p:nvSpPr>
          <p:spPr bwMode="auto">
            <a:xfrm>
              <a:off x="9193213" y="2386013"/>
              <a:ext cx="8699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notifications t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Freeform 12">
              <a:extLst>
                <a:ext uri="{FF2B5EF4-FFF2-40B4-BE49-F238E27FC236}">
                  <a16:creationId xmlns:a16="http://schemas.microsoft.com/office/drawing/2014/main" id="{21EC69DB-7118-40A8-A4E5-FF9C0868F17A}"/>
                </a:ext>
              </a:extLst>
            </p:cNvPr>
            <p:cNvSpPr>
              <a:spLocks noEditPoints="1"/>
            </p:cNvSpPr>
            <p:nvPr/>
          </p:nvSpPr>
          <p:spPr bwMode="auto">
            <a:xfrm>
              <a:off x="9026525" y="2393950"/>
              <a:ext cx="1228725" cy="496888"/>
            </a:xfrm>
            <a:custGeom>
              <a:avLst/>
              <a:gdLst>
                <a:gd name="T0" fmla="*/ 0 w 3435"/>
                <a:gd name="T1" fmla="*/ 1150 h 1390"/>
                <a:gd name="T2" fmla="*/ 32 w 3435"/>
                <a:gd name="T3" fmla="*/ 1150 h 1390"/>
                <a:gd name="T4" fmla="*/ 16 w 3435"/>
                <a:gd name="T5" fmla="*/ 1390 h 1390"/>
                <a:gd name="T6" fmla="*/ 0 w 3435"/>
                <a:gd name="T7" fmla="*/ 990 h 1390"/>
                <a:gd name="T8" fmla="*/ 16 w 3435"/>
                <a:gd name="T9" fmla="*/ 750 h 1390"/>
                <a:gd name="T10" fmla="*/ 32 w 3435"/>
                <a:gd name="T11" fmla="*/ 990 h 1390"/>
                <a:gd name="T12" fmla="*/ 0 w 3435"/>
                <a:gd name="T13" fmla="*/ 990 h 1390"/>
                <a:gd name="T14" fmla="*/ 0 w 3435"/>
                <a:gd name="T15" fmla="*/ 382 h 1390"/>
                <a:gd name="T16" fmla="*/ 32 w 3435"/>
                <a:gd name="T17" fmla="*/ 382 h 1390"/>
                <a:gd name="T18" fmla="*/ 16 w 3435"/>
                <a:gd name="T19" fmla="*/ 622 h 1390"/>
                <a:gd name="T20" fmla="*/ 0 w 3435"/>
                <a:gd name="T21" fmla="*/ 222 h 1390"/>
                <a:gd name="T22" fmla="*/ 16 w 3435"/>
                <a:gd name="T23" fmla="*/ 0 h 1390"/>
                <a:gd name="T24" fmla="*/ 49 w 3435"/>
                <a:gd name="T25" fmla="*/ 16 h 1390"/>
                <a:gd name="T26" fmla="*/ 16 w 3435"/>
                <a:gd name="T27" fmla="*/ 32 h 1390"/>
                <a:gd name="T28" fmla="*/ 32 w 3435"/>
                <a:gd name="T29" fmla="*/ 222 h 1390"/>
                <a:gd name="T30" fmla="*/ 0 w 3435"/>
                <a:gd name="T31" fmla="*/ 222 h 1390"/>
                <a:gd name="T32" fmla="*/ 417 w 3435"/>
                <a:gd name="T33" fmla="*/ 0 h 1390"/>
                <a:gd name="T34" fmla="*/ 417 w 3435"/>
                <a:gd name="T35" fmla="*/ 32 h 1390"/>
                <a:gd name="T36" fmla="*/ 177 w 3435"/>
                <a:gd name="T37" fmla="*/ 16 h 1390"/>
                <a:gd name="T38" fmla="*/ 577 w 3435"/>
                <a:gd name="T39" fmla="*/ 0 h 1390"/>
                <a:gd name="T40" fmla="*/ 817 w 3435"/>
                <a:gd name="T41" fmla="*/ 16 h 1390"/>
                <a:gd name="T42" fmla="*/ 577 w 3435"/>
                <a:gd name="T43" fmla="*/ 32 h 1390"/>
                <a:gd name="T44" fmla="*/ 577 w 3435"/>
                <a:gd name="T45" fmla="*/ 0 h 1390"/>
                <a:gd name="T46" fmla="*/ 1185 w 3435"/>
                <a:gd name="T47" fmla="*/ 0 h 1390"/>
                <a:gd name="T48" fmla="*/ 1185 w 3435"/>
                <a:gd name="T49" fmla="*/ 32 h 1390"/>
                <a:gd name="T50" fmla="*/ 945 w 3435"/>
                <a:gd name="T51" fmla="*/ 16 h 1390"/>
                <a:gd name="T52" fmla="*/ 1345 w 3435"/>
                <a:gd name="T53" fmla="*/ 0 h 1390"/>
                <a:gd name="T54" fmla="*/ 1585 w 3435"/>
                <a:gd name="T55" fmla="*/ 16 h 1390"/>
                <a:gd name="T56" fmla="*/ 1345 w 3435"/>
                <a:gd name="T57" fmla="*/ 32 h 1390"/>
                <a:gd name="T58" fmla="*/ 1345 w 3435"/>
                <a:gd name="T59" fmla="*/ 0 h 1390"/>
                <a:gd name="T60" fmla="*/ 1953 w 3435"/>
                <a:gd name="T61" fmla="*/ 0 h 1390"/>
                <a:gd name="T62" fmla="*/ 1953 w 3435"/>
                <a:gd name="T63" fmla="*/ 32 h 1390"/>
                <a:gd name="T64" fmla="*/ 1713 w 3435"/>
                <a:gd name="T65" fmla="*/ 16 h 1390"/>
                <a:gd name="T66" fmla="*/ 2113 w 3435"/>
                <a:gd name="T67" fmla="*/ 0 h 1390"/>
                <a:gd name="T68" fmla="*/ 2353 w 3435"/>
                <a:gd name="T69" fmla="*/ 16 h 1390"/>
                <a:gd name="T70" fmla="*/ 2113 w 3435"/>
                <a:gd name="T71" fmla="*/ 32 h 1390"/>
                <a:gd name="T72" fmla="*/ 2113 w 3435"/>
                <a:gd name="T73" fmla="*/ 0 h 1390"/>
                <a:gd name="T74" fmla="*/ 2721 w 3435"/>
                <a:gd name="T75" fmla="*/ 0 h 1390"/>
                <a:gd name="T76" fmla="*/ 2721 w 3435"/>
                <a:gd name="T77" fmla="*/ 32 h 1390"/>
                <a:gd name="T78" fmla="*/ 2481 w 3435"/>
                <a:gd name="T79" fmla="*/ 16 h 1390"/>
                <a:gd name="T80" fmla="*/ 2881 w 3435"/>
                <a:gd name="T81" fmla="*/ 0 h 1390"/>
                <a:gd name="T82" fmla="*/ 3121 w 3435"/>
                <a:gd name="T83" fmla="*/ 16 h 1390"/>
                <a:gd name="T84" fmla="*/ 2881 w 3435"/>
                <a:gd name="T85" fmla="*/ 32 h 1390"/>
                <a:gd name="T86" fmla="*/ 2881 w 3435"/>
                <a:gd name="T87" fmla="*/ 0 h 1390"/>
                <a:gd name="T88" fmla="*/ 3419 w 3435"/>
                <a:gd name="T89" fmla="*/ 0 h 1390"/>
                <a:gd name="T90" fmla="*/ 3419 w 3435"/>
                <a:gd name="T91" fmla="*/ 32 h 1390"/>
                <a:gd name="T92" fmla="*/ 3249 w 3435"/>
                <a:gd name="T93" fmla="*/ 16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35" h="1390">
                  <a:moveTo>
                    <a:pt x="0" y="1374"/>
                  </a:moveTo>
                  <a:lnTo>
                    <a:pt x="0" y="1150"/>
                  </a:lnTo>
                  <a:cubicBezTo>
                    <a:pt x="0" y="1142"/>
                    <a:pt x="7" y="1134"/>
                    <a:pt x="16" y="1134"/>
                  </a:cubicBezTo>
                  <a:cubicBezTo>
                    <a:pt x="25" y="1134"/>
                    <a:pt x="32" y="1142"/>
                    <a:pt x="32" y="1150"/>
                  </a:cubicBezTo>
                  <a:lnTo>
                    <a:pt x="32" y="1374"/>
                  </a:lnTo>
                  <a:cubicBezTo>
                    <a:pt x="32" y="1383"/>
                    <a:pt x="25" y="1390"/>
                    <a:pt x="16" y="1390"/>
                  </a:cubicBezTo>
                  <a:cubicBezTo>
                    <a:pt x="7" y="1390"/>
                    <a:pt x="0" y="1383"/>
                    <a:pt x="0" y="1374"/>
                  </a:cubicBezTo>
                  <a:close/>
                  <a:moveTo>
                    <a:pt x="0" y="990"/>
                  </a:moveTo>
                  <a:lnTo>
                    <a:pt x="0" y="766"/>
                  </a:lnTo>
                  <a:cubicBezTo>
                    <a:pt x="0" y="758"/>
                    <a:pt x="7" y="750"/>
                    <a:pt x="16" y="750"/>
                  </a:cubicBezTo>
                  <a:cubicBezTo>
                    <a:pt x="25" y="750"/>
                    <a:pt x="32" y="758"/>
                    <a:pt x="32" y="766"/>
                  </a:cubicBezTo>
                  <a:lnTo>
                    <a:pt x="32" y="990"/>
                  </a:lnTo>
                  <a:cubicBezTo>
                    <a:pt x="32" y="999"/>
                    <a:pt x="25" y="1006"/>
                    <a:pt x="16" y="1006"/>
                  </a:cubicBezTo>
                  <a:cubicBezTo>
                    <a:pt x="7" y="1006"/>
                    <a:pt x="0" y="999"/>
                    <a:pt x="0" y="990"/>
                  </a:cubicBezTo>
                  <a:close/>
                  <a:moveTo>
                    <a:pt x="0" y="606"/>
                  </a:moveTo>
                  <a:lnTo>
                    <a:pt x="0" y="382"/>
                  </a:lnTo>
                  <a:cubicBezTo>
                    <a:pt x="0" y="374"/>
                    <a:pt x="7" y="366"/>
                    <a:pt x="16" y="366"/>
                  </a:cubicBezTo>
                  <a:cubicBezTo>
                    <a:pt x="25" y="366"/>
                    <a:pt x="32" y="374"/>
                    <a:pt x="32" y="382"/>
                  </a:cubicBezTo>
                  <a:lnTo>
                    <a:pt x="32" y="606"/>
                  </a:lnTo>
                  <a:cubicBezTo>
                    <a:pt x="32" y="615"/>
                    <a:pt x="25" y="622"/>
                    <a:pt x="16" y="622"/>
                  </a:cubicBezTo>
                  <a:cubicBezTo>
                    <a:pt x="7" y="622"/>
                    <a:pt x="0" y="615"/>
                    <a:pt x="0" y="606"/>
                  </a:cubicBezTo>
                  <a:close/>
                  <a:moveTo>
                    <a:pt x="0" y="222"/>
                  </a:moveTo>
                  <a:lnTo>
                    <a:pt x="0" y="16"/>
                  </a:lnTo>
                  <a:cubicBezTo>
                    <a:pt x="0" y="7"/>
                    <a:pt x="7" y="0"/>
                    <a:pt x="16" y="0"/>
                  </a:cubicBezTo>
                  <a:lnTo>
                    <a:pt x="33" y="0"/>
                  </a:lnTo>
                  <a:cubicBezTo>
                    <a:pt x="42" y="0"/>
                    <a:pt x="49" y="7"/>
                    <a:pt x="49" y="16"/>
                  </a:cubicBezTo>
                  <a:cubicBezTo>
                    <a:pt x="49" y="24"/>
                    <a:pt x="42" y="32"/>
                    <a:pt x="33" y="32"/>
                  </a:cubicBezTo>
                  <a:lnTo>
                    <a:pt x="16" y="32"/>
                  </a:lnTo>
                  <a:lnTo>
                    <a:pt x="32" y="16"/>
                  </a:lnTo>
                  <a:lnTo>
                    <a:pt x="32" y="222"/>
                  </a:lnTo>
                  <a:cubicBezTo>
                    <a:pt x="32" y="231"/>
                    <a:pt x="25" y="238"/>
                    <a:pt x="16" y="238"/>
                  </a:cubicBezTo>
                  <a:cubicBezTo>
                    <a:pt x="7" y="238"/>
                    <a:pt x="0" y="231"/>
                    <a:pt x="0" y="222"/>
                  </a:cubicBezTo>
                  <a:close/>
                  <a:moveTo>
                    <a:pt x="193" y="0"/>
                  </a:moveTo>
                  <a:lnTo>
                    <a:pt x="417" y="0"/>
                  </a:lnTo>
                  <a:cubicBezTo>
                    <a:pt x="426" y="0"/>
                    <a:pt x="433" y="7"/>
                    <a:pt x="433" y="16"/>
                  </a:cubicBezTo>
                  <a:cubicBezTo>
                    <a:pt x="433" y="24"/>
                    <a:pt x="426" y="32"/>
                    <a:pt x="417" y="32"/>
                  </a:cubicBezTo>
                  <a:lnTo>
                    <a:pt x="193" y="32"/>
                  </a:lnTo>
                  <a:cubicBezTo>
                    <a:pt x="184" y="32"/>
                    <a:pt x="177" y="24"/>
                    <a:pt x="177" y="16"/>
                  </a:cubicBezTo>
                  <a:cubicBezTo>
                    <a:pt x="177" y="7"/>
                    <a:pt x="184" y="0"/>
                    <a:pt x="193" y="0"/>
                  </a:cubicBezTo>
                  <a:close/>
                  <a:moveTo>
                    <a:pt x="577" y="0"/>
                  </a:moveTo>
                  <a:lnTo>
                    <a:pt x="801" y="0"/>
                  </a:lnTo>
                  <a:cubicBezTo>
                    <a:pt x="810" y="0"/>
                    <a:pt x="817" y="7"/>
                    <a:pt x="817" y="16"/>
                  </a:cubicBezTo>
                  <a:cubicBezTo>
                    <a:pt x="817" y="24"/>
                    <a:pt x="810" y="32"/>
                    <a:pt x="801" y="32"/>
                  </a:cubicBezTo>
                  <a:lnTo>
                    <a:pt x="577" y="32"/>
                  </a:lnTo>
                  <a:cubicBezTo>
                    <a:pt x="568" y="32"/>
                    <a:pt x="561" y="24"/>
                    <a:pt x="561" y="16"/>
                  </a:cubicBezTo>
                  <a:cubicBezTo>
                    <a:pt x="561" y="7"/>
                    <a:pt x="568" y="0"/>
                    <a:pt x="577" y="0"/>
                  </a:cubicBezTo>
                  <a:close/>
                  <a:moveTo>
                    <a:pt x="961" y="0"/>
                  </a:moveTo>
                  <a:lnTo>
                    <a:pt x="1185" y="0"/>
                  </a:lnTo>
                  <a:cubicBezTo>
                    <a:pt x="1194" y="0"/>
                    <a:pt x="1201" y="7"/>
                    <a:pt x="1201" y="16"/>
                  </a:cubicBezTo>
                  <a:cubicBezTo>
                    <a:pt x="1201" y="24"/>
                    <a:pt x="1194" y="32"/>
                    <a:pt x="1185" y="32"/>
                  </a:cubicBezTo>
                  <a:lnTo>
                    <a:pt x="961" y="32"/>
                  </a:lnTo>
                  <a:cubicBezTo>
                    <a:pt x="952" y="32"/>
                    <a:pt x="945" y="24"/>
                    <a:pt x="945" y="16"/>
                  </a:cubicBezTo>
                  <a:cubicBezTo>
                    <a:pt x="945" y="7"/>
                    <a:pt x="952" y="0"/>
                    <a:pt x="961" y="0"/>
                  </a:cubicBezTo>
                  <a:close/>
                  <a:moveTo>
                    <a:pt x="1345" y="0"/>
                  </a:moveTo>
                  <a:lnTo>
                    <a:pt x="1569" y="0"/>
                  </a:lnTo>
                  <a:cubicBezTo>
                    <a:pt x="1578" y="0"/>
                    <a:pt x="1585" y="7"/>
                    <a:pt x="1585" y="16"/>
                  </a:cubicBezTo>
                  <a:cubicBezTo>
                    <a:pt x="1585" y="24"/>
                    <a:pt x="1578" y="32"/>
                    <a:pt x="1569" y="32"/>
                  </a:cubicBezTo>
                  <a:lnTo>
                    <a:pt x="1345" y="32"/>
                  </a:lnTo>
                  <a:cubicBezTo>
                    <a:pt x="1336" y="32"/>
                    <a:pt x="1329" y="24"/>
                    <a:pt x="1329" y="16"/>
                  </a:cubicBezTo>
                  <a:cubicBezTo>
                    <a:pt x="1329" y="7"/>
                    <a:pt x="1336" y="0"/>
                    <a:pt x="1345" y="0"/>
                  </a:cubicBezTo>
                  <a:close/>
                  <a:moveTo>
                    <a:pt x="1729" y="0"/>
                  </a:moveTo>
                  <a:lnTo>
                    <a:pt x="1953" y="0"/>
                  </a:lnTo>
                  <a:cubicBezTo>
                    <a:pt x="1962" y="0"/>
                    <a:pt x="1969" y="7"/>
                    <a:pt x="1969" y="16"/>
                  </a:cubicBezTo>
                  <a:cubicBezTo>
                    <a:pt x="1969" y="24"/>
                    <a:pt x="1962" y="32"/>
                    <a:pt x="1953" y="32"/>
                  </a:cubicBezTo>
                  <a:lnTo>
                    <a:pt x="1729" y="32"/>
                  </a:lnTo>
                  <a:cubicBezTo>
                    <a:pt x="1720" y="32"/>
                    <a:pt x="1713" y="24"/>
                    <a:pt x="1713" y="16"/>
                  </a:cubicBezTo>
                  <a:cubicBezTo>
                    <a:pt x="1713" y="7"/>
                    <a:pt x="1720" y="0"/>
                    <a:pt x="1729" y="0"/>
                  </a:cubicBezTo>
                  <a:close/>
                  <a:moveTo>
                    <a:pt x="2113" y="0"/>
                  </a:moveTo>
                  <a:lnTo>
                    <a:pt x="2337" y="0"/>
                  </a:lnTo>
                  <a:cubicBezTo>
                    <a:pt x="2346" y="0"/>
                    <a:pt x="2353" y="7"/>
                    <a:pt x="2353" y="16"/>
                  </a:cubicBezTo>
                  <a:cubicBezTo>
                    <a:pt x="2353" y="24"/>
                    <a:pt x="2346" y="32"/>
                    <a:pt x="2337" y="32"/>
                  </a:cubicBezTo>
                  <a:lnTo>
                    <a:pt x="2113" y="32"/>
                  </a:lnTo>
                  <a:cubicBezTo>
                    <a:pt x="2104" y="32"/>
                    <a:pt x="2097" y="24"/>
                    <a:pt x="2097" y="16"/>
                  </a:cubicBezTo>
                  <a:cubicBezTo>
                    <a:pt x="2097" y="7"/>
                    <a:pt x="2104" y="0"/>
                    <a:pt x="2113" y="0"/>
                  </a:cubicBezTo>
                  <a:close/>
                  <a:moveTo>
                    <a:pt x="2497" y="0"/>
                  </a:moveTo>
                  <a:lnTo>
                    <a:pt x="2721" y="0"/>
                  </a:lnTo>
                  <a:cubicBezTo>
                    <a:pt x="2730" y="0"/>
                    <a:pt x="2737" y="7"/>
                    <a:pt x="2737" y="16"/>
                  </a:cubicBezTo>
                  <a:cubicBezTo>
                    <a:pt x="2737" y="24"/>
                    <a:pt x="2730" y="32"/>
                    <a:pt x="2721" y="32"/>
                  </a:cubicBezTo>
                  <a:lnTo>
                    <a:pt x="2497" y="32"/>
                  </a:lnTo>
                  <a:cubicBezTo>
                    <a:pt x="2488" y="32"/>
                    <a:pt x="2481" y="24"/>
                    <a:pt x="2481" y="16"/>
                  </a:cubicBezTo>
                  <a:cubicBezTo>
                    <a:pt x="2481" y="7"/>
                    <a:pt x="2488" y="0"/>
                    <a:pt x="2497" y="0"/>
                  </a:cubicBezTo>
                  <a:close/>
                  <a:moveTo>
                    <a:pt x="2881" y="0"/>
                  </a:moveTo>
                  <a:lnTo>
                    <a:pt x="3105" y="0"/>
                  </a:lnTo>
                  <a:cubicBezTo>
                    <a:pt x="3114" y="0"/>
                    <a:pt x="3121" y="7"/>
                    <a:pt x="3121" y="16"/>
                  </a:cubicBezTo>
                  <a:cubicBezTo>
                    <a:pt x="3121" y="24"/>
                    <a:pt x="3114" y="32"/>
                    <a:pt x="3105" y="32"/>
                  </a:cubicBezTo>
                  <a:lnTo>
                    <a:pt x="2881" y="32"/>
                  </a:lnTo>
                  <a:cubicBezTo>
                    <a:pt x="2872" y="32"/>
                    <a:pt x="2865" y="24"/>
                    <a:pt x="2865" y="16"/>
                  </a:cubicBezTo>
                  <a:cubicBezTo>
                    <a:pt x="2865" y="7"/>
                    <a:pt x="2872" y="0"/>
                    <a:pt x="2881" y="0"/>
                  </a:cubicBezTo>
                  <a:close/>
                  <a:moveTo>
                    <a:pt x="3265" y="0"/>
                  </a:moveTo>
                  <a:lnTo>
                    <a:pt x="3419" y="0"/>
                  </a:lnTo>
                  <a:cubicBezTo>
                    <a:pt x="3428" y="0"/>
                    <a:pt x="3435" y="7"/>
                    <a:pt x="3435" y="16"/>
                  </a:cubicBezTo>
                  <a:cubicBezTo>
                    <a:pt x="3435" y="24"/>
                    <a:pt x="3428" y="32"/>
                    <a:pt x="3419" y="32"/>
                  </a:cubicBezTo>
                  <a:lnTo>
                    <a:pt x="3265" y="32"/>
                  </a:lnTo>
                  <a:cubicBezTo>
                    <a:pt x="3256" y="32"/>
                    <a:pt x="3249" y="24"/>
                    <a:pt x="3249" y="16"/>
                  </a:cubicBezTo>
                  <a:cubicBezTo>
                    <a:pt x="3249" y="7"/>
                    <a:pt x="3256" y="0"/>
                    <a:pt x="3265"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3">
              <a:extLst>
                <a:ext uri="{FF2B5EF4-FFF2-40B4-BE49-F238E27FC236}">
                  <a16:creationId xmlns:a16="http://schemas.microsoft.com/office/drawing/2014/main" id="{1AAAE79B-E8B1-467D-82D5-0B24CFEDAC69}"/>
                </a:ext>
              </a:extLst>
            </p:cNvPr>
            <p:cNvSpPr>
              <a:spLocks/>
            </p:cNvSpPr>
            <p:nvPr/>
          </p:nvSpPr>
          <p:spPr bwMode="auto">
            <a:xfrm>
              <a:off x="10225088" y="2349500"/>
              <a:ext cx="100013"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4">
              <a:extLst>
                <a:ext uri="{FF2B5EF4-FFF2-40B4-BE49-F238E27FC236}">
                  <a16:creationId xmlns:a16="http://schemas.microsoft.com/office/drawing/2014/main" id="{5466F3FE-7AB4-4787-8497-05E164D691C8}"/>
                </a:ext>
              </a:extLst>
            </p:cNvPr>
            <p:cNvSpPr>
              <a:spLocks/>
            </p:cNvSpPr>
            <p:nvPr/>
          </p:nvSpPr>
          <p:spPr bwMode="auto">
            <a:xfrm>
              <a:off x="10315575" y="1603375"/>
              <a:ext cx="1157288" cy="434975"/>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5">
              <a:extLst>
                <a:ext uri="{FF2B5EF4-FFF2-40B4-BE49-F238E27FC236}">
                  <a16:creationId xmlns:a16="http://schemas.microsoft.com/office/drawing/2014/main" id="{6E2B67D0-4723-498C-96CA-5B98FED1B1EF}"/>
                </a:ext>
              </a:extLst>
            </p:cNvPr>
            <p:cNvSpPr>
              <a:spLocks/>
            </p:cNvSpPr>
            <p:nvPr/>
          </p:nvSpPr>
          <p:spPr bwMode="auto">
            <a:xfrm>
              <a:off x="10315575" y="1603375"/>
              <a:ext cx="1157288" cy="434975"/>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16">
              <a:extLst>
                <a:ext uri="{FF2B5EF4-FFF2-40B4-BE49-F238E27FC236}">
                  <a16:creationId xmlns:a16="http://schemas.microsoft.com/office/drawing/2014/main" id="{F9751EF8-50BD-4654-A1B9-111A7DE149DB}"/>
                </a:ext>
              </a:extLst>
            </p:cNvPr>
            <p:cNvSpPr>
              <a:spLocks noChangeArrowheads="1"/>
            </p:cNvSpPr>
            <p:nvPr/>
          </p:nvSpPr>
          <p:spPr bwMode="auto">
            <a:xfrm>
              <a:off x="10694988" y="1722438"/>
              <a:ext cx="52705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Tea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Rectangle 17">
              <a:extLst>
                <a:ext uri="{FF2B5EF4-FFF2-40B4-BE49-F238E27FC236}">
                  <a16:creationId xmlns:a16="http://schemas.microsoft.com/office/drawing/2014/main" id="{D5E4B6D8-5696-48A4-9DD7-6FEEBD7E21AC}"/>
                </a:ext>
              </a:extLst>
            </p:cNvPr>
            <p:cNvSpPr>
              <a:spLocks noChangeArrowheads="1"/>
            </p:cNvSpPr>
            <p:nvPr/>
          </p:nvSpPr>
          <p:spPr bwMode="auto">
            <a:xfrm>
              <a:off x="9374188" y="1665288"/>
              <a:ext cx="4000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a:ln>
                    <a:noFill/>
                  </a:ln>
                  <a:solidFill>
                    <a:srgbClr val="000000"/>
                  </a:solidFill>
                  <a:effectLst/>
                  <a:latin typeface="Segoe UI" panose="020B0502040204020203" pitchFamily="34" charset="0"/>
                </a:rPr>
                <a:t>block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70" name="Rectangle 18">
              <a:extLst>
                <a:ext uri="{FF2B5EF4-FFF2-40B4-BE49-F238E27FC236}">
                  <a16:creationId xmlns:a16="http://schemas.microsoft.com/office/drawing/2014/main" id="{58E0ED34-DDC4-4258-BE16-FBC4507DFFF7}"/>
                </a:ext>
              </a:extLst>
            </p:cNvPr>
            <p:cNvSpPr>
              <a:spLocks noChangeArrowheads="1"/>
            </p:cNvSpPr>
            <p:nvPr/>
          </p:nvSpPr>
          <p:spPr bwMode="auto">
            <a:xfrm>
              <a:off x="9218613" y="1814513"/>
              <a:ext cx="7159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a:ln>
                    <a:noFill/>
                  </a:ln>
                  <a:solidFill>
                    <a:srgbClr val="000000"/>
                  </a:solidFill>
                  <a:effectLst/>
                  <a:latin typeface="Segoe UI" panose="020B0502040204020203" pitchFamily="34" charset="0"/>
                </a:rPr>
                <a:t>messages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Freeform 19">
              <a:extLst>
                <a:ext uri="{FF2B5EF4-FFF2-40B4-BE49-F238E27FC236}">
                  <a16:creationId xmlns:a16="http://schemas.microsoft.com/office/drawing/2014/main" id="{6990BDA8-A9C6-43FF-AA1B-7C80528E0772}"/>
                </a:ext>
              </a:extLst>
            </p:cNvPr>
            <p:cNvSpPr>
              <a:spLocks noEditPoints="1"/>
            </p:cNvSpPr>
            <p:nvPr/>
          </p:nvSpPr>
          <p:spPr bwMode="auto">
            <a:xfrm>
              <a:off x="9026525" y="1816100"/>
              <a:ext cx="1220788" cy="1074738"/>
            </a:xfrm>
            <a:custGeom>
              <a:avLst/>
              <a:gdLst>
                <a:gd name="T0" fmla="*/ 0 w 3409"/>
                <a:gd name="T1" fmla="*/ 2765 h 3005"/>
                <a:gd name="T2" fmla="*/ 32 w 3409"/>
                <a:gd name="T3" fmla="*/ 2765 h 3005"/>
                <a:gd name="T4" fmla="*/ 16 w 3409"/>
                <a:gd name="T5" fmla="*/ 3005 h 3005"/>
                <a:gd name="T6" fmla="*/ 0 w 3409"/>
                <a:gd name="T7" fmla="*/ 2605 h 3005"/>
                <a:gd name="T8" fmla="*/ 16 w 3409"/>
                <a:gd name="T9" fmla="*/ 2365 h 3005"/>
                <a:gd name="T10" fmla="*/ 32 w 3409"/>
                <a:gd name="T11" fmla="*/ 2605 h 3005"/>
                <a:gd name="T12" fmla="*/ 0 w 3409"/>
                <a:gd name="T13" fmla="*/ 2605 h 3005"/>
                <a:gd name="T14" fmla="*/ 0 w 3409"/>
                <a:gd name="T15" fmla="*/ 1997 h 3005"/>
                <a:gd name="T16" fmla="*/ 32 w 3409"/>
                <a:gd name="T17" fmla="*/ 1997 h 3005"/>
                <a:gd name="T18" fmla="*/ 16 w 3409"/>
                <a:gd name="T19" fmla="*/ 2237 h 3005"/>
                <a:gd name="T20" fmla="*/ 0 w 3409"/>
                <a:gd name="T21" fmla="*/ 1837 h 3005"/>
                <a:gd name="T22" fmla="*/ 16 w 3409"/>
                <a:gd name="T23" fmla="*/ 1597 h 3005"/>
                <a:gd name="T24" fmla="*/ 32 w 3409"/>
                <a:gd name="T25" fmla="*/ 1837 h 3005"/>
                <a:gd name="T26" fmla="*/ 0 w 3409"/>
                <a:gd name="T27" fmla="*/ 1837 h 3005"/>
                <a:gd name="T28" fmla="*/ 0 w 3409"/>
                <a:gd name="T29" fmla="*/ 1229 h 3005"/>
                <a:gd name="T30" fmla="*/ 32 w 3409"/>
                <a:gd name="T31" fmla="*/ 1229 h 3005"/>
                <a:gd name="T32" fmla="*/ 16 w 3409"/>
                <a:gd name="T33" fmla="*/ 1469 h 3005"/>
                <a:gd name="T34" fmla="*/ 0 w 3409"/>
                <a:gd name="T35" fmla="*/ 1069 h 3005"/>
                <a:gd name="T36" fmla="*/ 16 w 3409"/>
                <a:gd name="T37" fmla="*/ 829 h 3005"/>
                <a:gd name="T38" fmla="*/ 32 w 3409"/>
                <a:gd name="T39" fmla="*/ 1069 h 3005"/>
                <a:gd name="T40" fmla="*/ 0 w 3409"/>
                <a:gd name="T41" fmla="*/ 1069 h 3005"/>
                <a:gd name="T42" fmla="*/ 0 w 3409"/>
                <a:gd name="T43" fmla="*/ 461 h 3005"/>
                <a:gd name="T44" fmla="*/ 32 w 3409"/>
                <a:gd name="T45" fmla="*/ 461 h 3005"/>
                <a:gd name="T46" fmla="*/ 16 w 3409"/>
                <a:gd name="T47" fmla="*/ 701 h 3005"/>
                <a:gd name="T48" fmla="*/ 0 w 3409"/>
                <a:gd name="T49" fmla="*/ 301 h 3005"/>
                <a:gd name="T50" fmla="*/ 16 w 3409"/>
                <a:gd name="T51" fmla="*/ 61 h 3005"/>
                <a:gd name="T52" fmla="*/ 32 w 3409"/>
                <a:gd name="T53" fmla="*/ 301 h 3005"/>
                <a:gd name="T54" fmla="*/ 0 w 3409"/>
                <a:gd name="T55" fmla="*/ 301 h 3005"/>
                <a:gd name="T56" fmla="*/ 338 w 3409"/>
                <a:gd name="T57" fmla="*/ 0 h 3005"/>
                <a:gd name="T58" fmla="*/ 338 w 3409"/>
                <a:gd name="T59" fmla="*/ 32 h 3005"/>
                <a:gd name="T60" fmla="*/ 98 w 3409"/>
                <a:gd name="T61" fmla="*/ 16 h 3005"/>
                <a:gd name="T62" fmla="*/ 498 w 3409"/>
                <a:gd name="T63" fmla="*/ 0 h 3005"/>
                <a:gd name="T64" fmla="*/ 738 w 3409"/>
                <a:gd name="T65" fmla="*/ 16 h 3005"/>
                <a:gd name="T66" fmla="*/ 498 w 3409"/>
                <a:gd name="T67" fmla="*/ 32 h 3005"/>
                <a:gd name="T68" fmla="*/ 498 w 3409"/>
                <a:gd name="T69" fmla="*/ 0 h 3005"/>
                <a:gd name="T70" fmla="*/ 1106 w 3409"/>
                <a:gd name="T71" fmla="*/ 0 h 3005"/>
                <a:gd name="T72" fmla="*/ 1106 w 3409"/>
                <a:gd name="T73" fmla="*/ 32 h 3005"/>
                <a:gd name="T74" fmla="*/ 866 w 3409"/>
                <a:gd name="T75" fmla="*/ 16 h 3005"/>
                <a:gd name="T76" fmla="*/ 1266 w 3409"/>
                <a:gd name="T77" fmla="*/ 0 h 3005"/>
                <a:gd name="T78" fmla="*/ 1506 w 3409"/>
                <a:gd name="T79" fmla="*/ 16 h 3005"/>
                <a:gd name="T80" fmla="*/ 1266 w 3409"/>
                <a:gd name="T81" fmla="*/ 32 h 3005"/>
                <a:gd name="T82" fmla="*/ 1266 w 3409"/>
                <a:gd name="T83" fmla="*/ 0 h 3005"/>
                <a:gd name="T84" fmla="*/ 1874 w 3409"/>
                <a:gd name="T85" fmla="*/ 0 h 3005"/>
                <a:gd name="T86" fmla="*/ 1874 w 3409"/>
                <a:gd name="T87" fmla="*/ 32 h 3005"/>
                <a:gd name="T88" fmla="*/ 1634 w 3409"/>
                <a:gd name="T89" fmla="*/ 16 h 3005"/>
                <a:gd name="T90" fmla="*/ 2034 w 3409"/>
                <a:gd name="T91" fmla="*/ 0 h 3005"/>
                <a:gd name="T92" fmla="*/ 2274 w 3409"/>
                <a:gd name="T93" fmla="*/ 16 h 3005"/>
                <a:gd name="T94" fmla="*/ 2034 w 3409"/>
                <a:gd name="T95" fmla="*/ 32 h 3005"/>
                <a:gd name="T96" fmla="*/ 2034 w 3409"/>
                <a:gd name="T97" fmla="*/ 0 h 3005"/>
                <a:gd name="T98" fmla="*/ 2642 w 3409"/>
                <a:gd name="T99" fmla="*/ 0 h 3005"/>
                <a:gd name="T100" fmla="*/ 2642 w 3409"/>
                <a:gd name="T101" fmla="*/ 32 h 3005"/>
                <a:gd name="T102" fmla="*/ 2402 w 3409"/>
                <a:gd name="T103" fmla="*/ 16 h 3005"/>
                <a:gd name="T104" fmla="*/ 2802 w 3409"/>
                <a:gd name="T105" fmla="*/ 0 h 3005"/>
                <a:gd name="T106" fmla="*/ 3042 w 3409"/>
                <a:gd name="T107" fmla="*/ 16 h 3005"/>
                <a:gd name="T108" fmla="*/ 2802 w 3409"/>
                <a:gd name="T109" fmla="*/ 32 h 3005"/>
                <a:gd name="T110" fmla="*/ 2802 w 3409"/>
                <a:gd name="T111" fmla="*/ 0 h 3005"/>
                <a:gd name="T112" fmla="*/ 3393 w 3409"/>
                <a:gd name="T113" fmla="*/ 0 h 3005"/>
                <a:gd name="T114" fmla="*/ 3393 w 3409"/>
                <a:gd name="T115" fmla="*/ 32 h 3005"/>
                <a:gd name="T116" fmla="*/ 3170 w 3409"/>
                <a:gd name="T117" fmla="*/ 16 h 3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9" h="3005">
                  <a:moveTo>
                    <a:pt x="0" y="2989"/>
                  </a:moveTo>
                  <a:lnTo>
                    <a:pt x="0" y="2765"/>
                  </a:lnTo>
                  <a:cubicBezTo>
                    <a:pt x="0" y="2757"/>
                    <a:pt x="7" y="2749"/>
                    <a:pt x="16" y="2749"/>
                  </a:cubicBezTo>
                  <a:cubicBezTo>
                    <a:pt x="25" y="2749"/>
                    <a:pt x="32" y="2757"/>
                    <a:pt x="32" y="2765"/>
                  </a:cubicBezTo>
                  <a:lnTo>
                    <a:pt x="32" y="2989"/>
                  </a:lnTo>
                  <a:cubicBezTo>
                    <a:pt x="32" y="2998"/>
                    <a:pt x="25" y="3005"/>
                    <a:pt x="16" y="3005"/>
                  </a:cubicBezTo>
                  <a:cubicBezTo>
                    <a:pt x="7" y="3005"/>
                    <a:pt x="0" y="2998"/>
                    <a:pt x="0" y="2989"/>
                  </a:cubicBezTo>
                  <a:close/>
                  <a:moveTo>
                    <a:pt x="0" y="2605"/>
                  </a:moveTo>
                  <a:lnTo>
                    <a:pt x="0" y="2381"/>
                  </a:lnTo>
                  <a:cubicBezTo>
                    <a:pt x="0" y="2373"/>
                    <a:pt x="7" y="2365"/>
                    <a:pt x="16" y="2365"/>
                  </a:cubicBezTo>
                  <a:cubicBezTo>
                    <a:pt x="25" y="2365"/>
                    <a:pt x="32" y="2373"/>
                    <a:pt x="32" y="2381"/>
                  </a:cubicBezTo>
                  <a:lnTo>
                    <a:pt x="32" y="2605"/>
                  </a:lnTo>
                  <a:cubicBezTo>
                    <a:pt x="32" y="2614"/>
                    <a:pt x="25" y="2621"/>
                    <a:pt x="16" y="2621"/>
                  </a:cubicBezTo>
                  <a:cubicBezTo>
                    <a:pt x="7" y="2621"/>
                    <a:pt x="0" y="2614"/>
                    <a:pt x="0" y="2605"/>
                  </a:cubicBezTo>
                  <a:close/>
                  <a:moveTo>
                    <a:pt x="0" y="2221"/>
                  </a:moveTo>
                  <a:lnTo>
                    <a:pt x="0" y="1997"/>
                  </a:lnTo>
                  <a:cubicBezTo>
                    <a:pt x="0" y="1989"/>
                    <a:pt x="7" y="1981"/>
                    <a:pt x="16" y="1981"/>
                  </a:cubicBezTo>
                  <a:cubicBezTo>
                    <a:pt x="25" y="1981"/>
                    <a:pt x="32" y="1989"/>
                    <a:pt x="32" y="1997"/>
                  </a:cubicBezTo>
                  <a:lnTo>
                    <a:pt x="32" y="2221"/>
                  </a:lnTo>
                  <a:cubicBezTo>
                    <a:pt x="32" y="2230"/>
                    <a:pt x="25" y="2237"/>
                    <a:pt x="16" y="2237"/>
                  </a:cubicBezTo>
                  <a:cubicBezTo>
                    <a:pt x="7" y="2237"/>
                    <a:pt x="0" y="2230"/>
                    <a:pt x="0" y="2221"/>
                  </a:cubicBezTo>
                  <a:close/>
                  <a:moveTo>
                    <a:pt x="0" y="1837"/>
                  </a:moveTo>
                  <a:lnTo>
                    <a:pt x="0" y="1613"/>
                  </a:lnTo>
                  <a:cubicBezTo>
                    <a:pt x="0" y="1605"/>
                    <a:pt x="7" y="1597"/>
                    <a:pt x="16" y="1597"/>
                  </a:cubicBezTo>
                  <a:cubicBezTo>
                    <a:pt x="25" y="1597"/>
                    <a:pt x="32" y="1605"/>
                    <a:pt x="32" y="1613"/>
                  </a:cubicBezTo>
                  <a:lnTo>
                    <a:pt x="32" y="1837"/>
                  </a:lnTo>
                  <a:cubicBezTo>
                    <a:pt x="32" y="1846"/>
                    <a:pt x="25" y="1853"/>
                    <a:pt x="16" y="1853"/>
                  </a:cubicBezTo>
                  <a:cubicBezTo>
                    <a:pt x="7" y="1853"/>
                    <a:pt x="0" y="1846"/>
                    <a:pt x="0" y="1837"/>
                  </a:cubicBezTo>
                  <a:close/>
                  <a:moveTo>
                    <a:pt x="0" y="1453"/>
                  </a:moveTo>
                  <a:lnTo>
                    <a:pt x="0" y="1229"/>
                  </a:lnTo>
                  <a:cubicBezTo>
                    <a:pt x="0" y="1221"/>
                    <a:pt x="7" y="1213"/>
                    <a:pt x="16" y="1213"/>
                  </a:cubicBezTo>
                  <a:cubicBezTo>
                    <a:pt x="25" y="1213"/>
                    <a:pt x="32" y="1221"/>
                    <a:pt x="32" y="1229"/>
                  </a:cubicBezTo>
                  <a:lnTo>
                    <a:pt x="32" y="1453"/>
                  </a:lnTo>
                  <a:cubicBezTo>
                    <a:pt x="32" y="1462"/>
                    <a:pt x="25" y="1469"/>
                    <a:pt x="16" y="1469"/>
                  </a:cubicBezTo>
                  <a:cubicBezTo>
                    <a:pt x="7" y="1469"/>
                    <a:pt x="0" y="1462"/>
                    <a:pt x="0" y="1453"/>
                  </a:cubicBezTo>
                  <a:close/>
                  <a:moveTo>
                    <a:pt x="0" y="1069"/>
                  </a:moveTo>
                  <a:lnTo>
                    <a:pt x="0" y="845"/>
                  </a:lnTo>
                  <a:cubicBezTo>
                    <a:pt x="0" y="837"/>
                    <a:pt x="7" y="829"/>
                    <a:pt x="16" y="829"/>
                  </a:cubicBezTo>
                  <a:cubicBezTo>
                    <a:pt x="25" y="829"/>
                    <a:pt x="32" y="837"/>
                    <a:pt x="32" y="845"/>
                  </a:cubicBezTo>
                  <a:lnTo>
                    <a:pt x="32" y="1069"/>
                  </a:lnTo>
                  <a:cubicBezTo>
                    <a:pt x="32" y="1078"/>
                    <a:pt x="25" y="1085"/>
                    <a:pt x="16" y="1085"/>
                  </a:cubicBezTo>
                  <a:cubicBezTo>
                    <a:pt x="7" y="1085"/>
                    <a:pt x="0" y="1078"/>
                    <a:pt x="0" y="1069"/>
                  </a:cubicBezTo>
                  <a:close/>
                  <a:moveTo>
                    <a:pt x="0" y="685"/>
                  </a:moveTo>
                  <a:lnTo>
                    <a:pt x="0" y="461"/>
                  </a:lnTo>
                  <a:cubicBezTo>
                    <a:pt x="0" y="453"/>
                    <a:pt x="7" y="445"/>
                    <a:pt x="16" y="445"/>
                  </a:cubicBezTo>
                  <a:cubicBezTo>
                    <a:pt x="25" y="445"/>
                    <a:pt x="32" y="453"/>
                    <a:pt x="32" y="461"/>
                  </a:cubicBezTo>
                  <a:lnTo>
                    <a:pt x="32" y="685"/>
                  </a:lnTo>
                  <a:cubicBezTo>
                    <a:pt x="32" y="694"/>
                    <a:pt x="25" y="701"/>
                    <a:pt x="16" y="701"/>
                  </a:cubicBezTo>
                  <a:cubicBezTo>
                    <a:pt x="7" y="701"/>
                    <a:pt x="0" y="694"/>
                    <a:pt x="0" y="685"/>
                  </a:cubicBezTo>
                  <a:close/>
                  <a:moveTo>
                    <a:pt x="0" y="301"/>
                  </a:moveTo>
                  <a:lnTo>
                    <a:pt x="0" y="77"/>
                  </a:lnTo>
                  <a:cubicBezTo>
                    <a:pt x="0" y="69"/>
                    <a:pt x="7" y="61"/>
                    <a:pt x="16" y="61"/>
                  </a:cubicBezTo>
                  <a:cubicBezTo>
                    <a:pt x="25" y="61"/>
                    <a:pt x="32" y="69"/>
                    <a:pt x="32" y="77"/>
                  </a:cubicBezTo>
                  <a:lnTo>
                    <a:pt x="32" y="301"/>
                  </a:lnTo>
                  <a:cubicBezTo>
                    <a:pt x="32" y="310"/>
                    <a:pt x="25" y="317"/>
                    <a:pt x="16" y="317"/>
                  </a:cubicBezTo>
                  <a:cubicBezTo>
                    <a:pt x="7" y="317"/>
                    <a:pt x="0" y="310"/>
                    <a:pt x="0" y="301"/>
                  </a:cubicBezTo>
                  <a:close/>
                  <a:moveTo>
                    <a:pt x="114" y="0"/>
                  </a:moveTo>
                  <a:lnTo>
                    <a:pt x="338" y="0"/>
                  </a:lnTo>
                  <a:cubicBezTo>
                    <a:pt x="347" y="0"/>
                    <a:pt x="354" y="7"/>
                    <a:pt x="354" y="16"/>
                  </a:cubicBezTo>
                  <a:cubicBezTo>
                    <a:pt x="354" y="24"/>
                    <a:pt x="347" y="32"/>
                    <a:pt x="338" y="32"/>
                  </a:cubicBezTo>
                  <a:lnTo>
                    <a:pt x="114" y="32"/>
                  </a:lnTo>
                  <a:cubicBezTo>
                    <a:pt x="105" y="32"/>
                    <a:pt x="98" y="24"/>
                    <a:pt x="98" y="16"/>
                  </a:cubicBezTo>
                  <a:cubicBezTo>
                    <a:pt x="98" y="7"/>
                    <a:pt x="105" y="0"/>
                    <a:pt x="114" y="0"/>
                  </a:cubicBezTo>
                  <a:close/>
                  <a:moveTo>
                    <a:pt x="498" y="0"/>
                  </a:moveTo>
                  <a:lnTo>
                    <a:pt x="722" y="0"/>
                  </a:lnTo>
                  <a:cubicBezTo>
                    <a:pt x="731" y="0"/>
                    <a:pt x="738" y="7"/>
                    <a:pt x="738" y="16"/>
                  </a:cubicBezTo>
                  <a:cubicBezTo>
                    <a:pt x="738" y="24"/>
                    <a:pt x="731" y="32"/>
                    <a:pt x="722" y="32"/>
                  </a:cubicBezTo>
                  <a:lnTo>
                    <a:pt x="498" y="32"/>
                  </a:lnTo>
                  <a:cubicBezTo>
                    <a:pt x="489" y="32"/>
                    <a:pt x="482" y="24"/>
                    <a:pt x="482" y="16"/>
                  </a:cubicBezTo>
                  <a:cubicBezTo>
                    <a:pt x="482" y="7"/>
                    <a:pt x="489" y="0"/>
                    <a:pt x="498" y="0"/>
                  </a:cubicBezTo>
                  <a:close/>
                  <a:moveTo>
                    <a:pt x="882" y="0"/>
                  </a:moveTo>
                  <a:lnTo>
                    <a:pt x="1106" y="0"/>
                  </a:lnTo>
                  <a:cubicBezTo>
                    <a:pt x="1115" y="0"/>
                    <a:pt x="1122" y="7"/>
                    <a:pt x="1122" y="16"/>
                  </a:cubicBezTo>
                  <a:cubicBezTo>
                    <a:pt x="1122" y="24"/>
                    <a:pt x="1115" y="32"/>
                    <a:pt x="1106" y="32"/>
                  </a:cubicBezTo>
                  <a:lnTo>
                    <a:pt x="882" y="32"/>
                  </a:lnTo>
                  <a:cubicBezTo>
                    <a:pt x="873" y="32"/>
                    <a:pt x="866" y="24"/>
                    <a:pt x="866" y="16"/>
                  </a:cubicBezTo>
                  <a:cubicBezTo>
                    <a:pt x="866" y="7"/>
                    <a:pt x="873" y="0"/>
                    <a:pt x="882" y="0"/>
                  </a:cubicBezTo>
                  <a:close/>
                  <a:moveTo>
                    <a:pt x="1266" y="0"/>
                  </a:moveTo>
                  <a:lnTo>
                    <a:pt x="1490" y="0"/>
                  </a:lnTo>
                  <a:cubicBezTo>
                    <a:pt x="1499" y="0"/>
                    <a:pt x="1506" y="7"/>
                    <a:pt x="1506" y="16"/>
                  </a:cubicBezTo>
                  <a:cubicBezTo>
                    <a:pt x="1506" y="24"/>
                    <a:pt x="1499" y="32"/>
                    <a:pt x="1490" y="32"/>
                  </a:cubicBezTo>
                  <a:lnTo>
                    <a:pt x="1266" y="32"/>
                  </a:lnTo>
                  <a:cubicBezTo>
                    <a:pt x="1257" y="32"/>
                    <a:pt x="1250" y="24"/>
                    <a:pt x="1250" y="16"/>
                  </a:cubicBezTo>
                  <a:cubicBezTo>
                    <a:pt x="1250" y="7"/>
                    <a:pt x="1257" y="0"/>
                    <a:pt x="1266" y="0"/>
                  </a:cubicBezTo>
                  <a:close/>
                  <a:moveTo>
                    <a:pt x="1650" y="0"/>
                  </a:moveTo>
                  <a:lnTo>
                    <a:pt x="1874" y="0"/>
                  </a:lnTo>
                  <a:cubicBezTo>
                    <a:pt x="1883" y="0"/>
                    <a:pt x="1890" y="7"/>
                    <a:pt x="1890" y="16"/>
                  </a:cubicBezTo>
                  <a:cubicBezTo>
                    <a:pt x="1890" y="24"/>
                    <a:pt x="1883" y="32"/>
                    <a:pt x="1874" y="32"/>
                  </a:cubicBezTo>
                  <a:lnTo>
                    <a:pt x="1650" y="32"/>
                  </a:lnTo>
                  <a:cubicBezTo>
                    <a:pt x="1641" y="32"/>
                    <a:pt x="1634" y="24"/>
                    <a:pt x="1634" y="16"/>
                  </a:cubicBezTo>
                  <a:cubicBezTo>
                    <a:pt x="1634" y="7"/>
                    <a:pt x="1641" y="0"/>
                    <a:pt x="1650" y="0"/>
                  </a:cubicBezTo>
                  <a:close/>
                  <a:moveTo>
                    <a:pt x="2034" y="0"/>
                  </a:moveTo>
                  <a:lnTo>
                    <a:pt x="2258" y="0"/>
                  </a:lnTo>
                  <a:cubicBezTo>
                    <a:pt x="2267" y="0"/>
                    <a:pt x="2274" y="7"/>
                    <a:pt x="2274" y="16"/>
                  </a:cubicBezTo>
                  <a:cubicBezTo>
                    <a:pt x="2274" y="24"/>
                    <a:pt x="2267" y="32"/>
                    <a:pt x="2258" y="32"/>
                  </a:cubicBezTo>
                  <a:lnTo>
                    <a:pt x="2034" y="32"/>
                  </a:lnTo>
                  <a:cubicBezTo>
                    <a:pt x="2025" y="32"/>
                    <a:pt x="2018" y="24"/>
                    <a:pt x="2018" y="16"/>
                  </a:cubicBezTo>
                  <a:cubicBezTo>
                    <a:pt x="2018" y="7"/>
                    <a:pt x="2025" y="0"/>
                    <a:pt x="2034" y="0"/>
                  </a:cubicBezTo>
                  <a:close/>
                  <a:moveTo>
                    <a:pt x="2418" y="0"/>
                  </a:moveTo>
                  <a:lnTo>
                    <a:pt x="2642" y="0"/>
                  </a:lnTo>
                  <a:cubicBezTo>
                    <a:pt x="2651" y="0"/>
                    <a:pt x="2658" y="7"/>
                    <a:pt x="2658" y="16"/>
                  </a:cubicBezTo>
                  <a:cubicBezTo>
                    <a:pt x="2658" y="24"/>
                    <a:pt x="2651" y="32"/>
                    <a:pt x="2642" y="32"/>
                  </a:cubicBezTo>
                  <a:lnTo>
                    <a:pt x="2418" y="32"/>
                  </a:lnTo>
                  <a:cubicBezTo>
                    <a:pt x="2409" y="32"/>
                    <a:pt x="2402" y="24"/>
                    <a:pt x="2402" y="16"/>
                  </a:cubicBezTo>
                  <a:cubicBezTo>
                    <a:pt x="2402" y="7"/>
                    <a:pt x="2409" y="0"/>
                    <a:pt x="2418" y="0"/>
                  </a:cubicBezTo>
                  <a:close/>
                  <a:moveTo>
                    <a:pt x="2802" y="0"/>
                  </a:moveTo>
                  <a:lnTo>
                    <a:pt x="3026" y="0"/>
                  </a:lnTo>
                  <a:cubicBezTo>
                    <a:pt x="3035" y="0"/>
                    <a:pt x="3042" y="7"/>
                    <a:pt x="3042" y="16"/>
                  </a:cubicBezTo>
                  <a:cubicBezTo>
                    <a:pt x="3042" y="24"/>
                    <a:pt x="3035" y="32"/>
                    <a:pt x="3026" y="32"/>
                  </a:cubicBezTo>
                  <a:lnTo>
                    <a:pt x="2802" y="32"/>
                  </a:lnTo>
                  <a:cubicBezTo>
                    <a:pt x="2793" y="32"/>
                    <a:pt x="2786" y="24"/>
                    <a:pt x="2786" y="16"/>
                  </a:cubicBezTo>
                  <a:cubicBezTo>
                    <a:pt x="2786" y="7"/>
                    <a:pt x="2793" y="0"/>
                    <a:pt x="2802" y="0"/>
                  </a:cubicBezTo>
                  <a:close/>
                  <a:moveTo>
                    <a:pt x="3186" y="0"/>
                  </a:moveTo>
                  <a:lnTo>
                    <a:pt x="3393" y="0"/>
                  </a:lnTo>
                  <a:cubicBezTo>
                    <a:pt x="3402" y="0"/>
                    <a:pt x="3409" y="7"/>
                    <a:pt x="3409" y="16"/>
                  </a:cubicBezTo>
                  <a:cubicBezTo>
                    <a:pt x="3409" y="24"/>
                    <a:pt x="3402" y="32"/>
                    <a:pt x="3393" y="32"/>
                  </a:cubicBezTo>
                  <a:lnTo>
                    <a:pt x="3186" y="32"/>
                  </a:lnTo>
                  <a:cubicBezTo>
                    <a:pt x="3177" y="32"/>
                    <a:pt x="3170" y="24"/>
                    <a:pt x="3170" y="16"/>
                  </a:cubicBezTo>
                  <a:cubicBezTo>
                    <a:pt x="3170" y="7"/>
                    <a:pt x="3177" y="0"/>
                    <a:pt x="318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0">
              <a:extLst>
                <a:ext uri="{FF2B5EF4-FFF2-40B4-BE49-F238E27FC236}">
                  <a16:creationId xmlns:a16="http://schemas.microsoft.com/office/drawing/2014/main" id="{1AA926EE-0A2C-4236-919E-9233C3C8546A}"/>
                </a:ext>
              </a:extLst>
            </p:cNvPr>
            <p:cNvSpPr>
              <a:spLocks/>
            </p:cNvSpPr>
            <p:nvPr/>
          </p:nvSpPr>
          <p:spPr bwMode="auto">
            <a:xfrm>
              <a:off x="10217150" y="1771650"/>
              <a:ext cx="98425" cy="100013"/>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1">
              <a:extLst>
                <a:ext uri="{FF2B5EF4-FFF2-40B4-BE49-F238E27FC236}">
                  <a16:creationId xmlns:a16="http://schemas.microsoft.com/office/drawing/2014/main" id="{F2B89774-FB70-480C-B588-ECB7143A12AB}"/>
                </a:ext>
              </a:extLst>
            </p:cNvPr>
            <p:cNvSpPr>
              <a:spLocks/>
            </p:cNvSpPr>
            <p:nvPr/>
          </p:nvSpPr>
          <p:spPr bwMode="auto">
            <a:xfrm>
              <a:off x="11485563" y="1787525"/>
              <a:ext cx="95250" cy="149225"/>
            </a:xfrm>
            <a:custGeom>
              <a:avLst/>
              <a:gdLst>
                <a:gd name="T0" fmla="*/ 228 w 268"/>
                <a:gd name="T1" fmla="*/ 0 h 418"/>
                <a:gd name="T2" fmla="*/ 50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50" y="0"/>
                  </a:lnTo>
                  <a:lnTo>
                    <a:pt x="0" y="45"/>
                  </a:lnTo>
                  <a:lnTo>
                    <a:pt x="0" y="268"/>
                  </a:lnTo>
                  <a:cubicBezTo>
                    <a:pt x="0" y="351"/>
                    <a:pt x="60" y="418"/>
                    <a:pt x="134" y="418"/>
                  </a:cubicBezTo>
                  <a:cubicBezTo>
                    <a:pt x="208" y="418"/>
                    <a:pt x="268" y="351"/>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Oval 22">
              <a:extLst>
                <a:ext uri="{FF2B5EF4-FFF2-40B4-BE49-F238E27FC236}">
                  <a16:creationId xmlns:a16="http://schemas.microsoft.com/office/drawing/2014/main" id="{8250E296-6EA4-4489-9397-ED44AE9A9DF7}"/>
                </a:ext>
              </a:extLst>
            </p:cNvPr>
            <p:cNvSpPr>
              <a:spLocks noChangeArrowheads="1"/>
            </p:cNvSpPr>
            <p:nvPr/>
          </p:nvSpPr>
          <p:spPr bwMode="auto">
            <a:xfrm>
              <a:off x="11520488" y="1701800"/>
              <a:ext cx="60325" cy="68263"/>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3">
              <a:extLst>
                <a:ext uri="{FF2B5EF4-FFF2-40B4-BE49-F238E27FC236}">
                  <a16:creationId xmlns:a16="http://schemas.microsoft.com/office/drawing/2014/main" id="{9F965773-FF9A-4FC1-A2DC-1659AAACA004}"/>
                </a:ext>
              </a:extLst>
            </p:cNvPr>
            <p:cNvSpPr>
              <a:spLocks/>
            </p:cNvSpPr>
            <p:nvPr/>
          </p:nvSpPr>
          <p:spPr bwMode="auto">
            <a:xfrm>
              <a:off x="11382375" y="1787525"/>
              <a:ext cx="138113" cy="187325"/>
            </a:xfrm>
            <a:custGeom>
              <a:avLst/>
              <a:gdLst>
                <a:gd name="T0" fmla="*/ 38 w 386"/>
                <a:gd name="T1" fmla="*/ 0 h 527"/>
                <a:gd name="T2" fmla="*/ 347 w 386"/>
                <a:gd name="T3" fmla="*/ 0 h 527"/>
                <a:gd name="T4" fmla="*/ 386 w 386"/>
                <a:gd name="T5" fmla="*/ 44 h 527"/>
                <a:gd name="T6" fmla="*/ 386 w 386"/>
                <a:gd name="T7" fmla="*/ 316 h 527"/>
                <a:gd name="T8" fmla="*/ 197 w 386"/>
                <a:gd name="T9" fmla="*/ 527 h 527"/>
                <a:gd name="T10" fmla="*/ 189 w 386"/>
                <a:gd name="T11" fmla="*/ 527 h 527"/>
                <a:gd name="T12" fmla="*/ 0 w 386"/>
                <a:gd name="T13" fmla="*/ 316 h 527"/>
                <a:gd name="T14" fmla="*/ 0 w 386"/>
                <a:gd name="T15" fmla="*/ 43 h 527"/>
                <a:gd name="T16" fmla="*/ 38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8" y="0"/>
                  </a:moveTo>
                  <a:lnTo>
                    <a:pt x="347" y="0"/>
                  </a:lnTo>
                  <a:cubicBezTo>
                    <a:pt x="368" y="0"/>
                    <a:pt x="386" y="20"/>
                    <a:pt x="386" y="44"/>
                  </a:cubicBezTo>
                  <a:lnTo>
                    <a:pt x="386" y="316"/>
                  </a:lnTo>
                  <a:cubicBezTo>
                    <a:pt x="386" y="433"/>
                    <a:pt x="301" y="527"/>
                    <a:pt x="197" y="527"/>
                  </a:cubicBezTo>
                  <a:lnTo>
                    <a:pt x="189" y="527"/>
                  </a:lnTo>
                  <a:cubicBezTo>
                    <a:pt x="84" y="527"/>
                    <a:pt x="0" y="433"/>
                    <a:pt x="0" y="316"/>
                  </a:cubicBezTo>
                  <a:lnTo>
                    <a:pt x="0" y="43"/>
                  </a:lnTo>
                  <a:cubicBezTo>
                    <a:pt x="0" y="20"/>
                    <a:pt x="17" y="0"/>
                    <a:pt x="38"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Oval 24">
              <a:extLst>
                <a:ext uri="{FF2B5EF4-FFF2-40B4-BE49-F238E27FC236}">
                  <a16:creationId xmlns:a16="http://schemas.microsoft.com/office/drawing/2014/main" id="{3A25A864-5436-4A8A-BD8F-D071B68EBD60}"/>
                </a:ext>
              </a:extLst>
            </p:cNvPr>
            <p:cNvSpPr>
              <a:spLocks noChangeArrowheads="1"/>
            </p:cNvSpPr>
            <p:nvPr/>
          </p:nvSpPr>
          <p:spPr bwMode="auto">
            <a:xfrm>
              <a:off x="11414125" y="1668463"/>
              <a:ext cx="88900" cy="1000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Rectangle 25">
              <a:extLst>
                <a:ext uri="{FF2B5EF4-FFF2-40B4-BE49-F238E27FC236}">
                  <a16:creationId xmlns:a16="http://schemas.microsoft.com/office/drawing/2014/main" id="{65B0B330-44CA-4134-871C-42F7A4740F3F}"/>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6">
              <a:extLst>
                <a:ext uri="{FF2B5EF4-FFF2-40B4-BE49-F238E27FC236}">
                  <a16:creationId xmlns:a16="http://schemas.microsoft.com/office/drawing/2014/main" id="{22FB0138-C29A-43D7-A10D-92CB7F69979D}"/>
                </a:ext>
              </a:extLst>
            </p:cNvPr>
            <p:cNvSpPr>
              <a:spLocks noEditPoints="1"/>
            </p:cNvSpPr>
            <p:nvPr/>
          </p:nvSpPr>
          <p:spPr bwMode="auto">
            <a:xfrm>
              <a:off x="11382375" y="1735138"/>
              <a:ext cx="92075" cy="206375"/>
            </a:xfrm>
            <a:custGeom>
              <a:avLst/>
              <a:gdLst>
                <a:gd name="T0" fmla="*/ 257 w 257"/>
                <a:gd name="T1" fmla="*/ 49 h 575"/>
                <a:gd name="T2" fmla="*/ 257 w 257"/>
                <a:gd name="T3" fmla="*/ 81 h 575"/>
                <a:gd name="T4" fmla="*/ 98 w 257"/>
                <a:gd name="T5" fmla="*/ 3 h 575"/>
                <a:gd name="T6" fmla="*/ 97 w 257"/>
                <a:gd name="T7" fmla="*/ 1 h 575"/>
                <a:gd name="T8" fmla="*/ 212 w 257"/>
                <a:gd name="T9" fmla="*/ 1 h 575"/>
                <a:gd name="T10" fmla="*/ 257 w 257"/>
                <a:gd name="T11" fmla="*/ 49 h 575"/>
                <a:gd name="T12" fmla="*/ 38 w 257"/>
                <a:gd name="T13" fmla="*/ 144 h 575"/>
                <a:gd name="T14" fmla="*/ 0 w 257"/>
                <a:gd name="T15" fmla="*/ 188 h 575"/>
                <a:gd name="T16" fmla="*/ 0 w 257"/>
                <a:gd name="T17" fmla="*/ 460 h 575"/>
                <a:gd name="T18" fmla="*/ 31 w 257"/>
                <a:gd name="T19" fmla="*/ 575 h 575"/>
                <a:gd name="T20" fmla="*/ 203 w 257"/>
                <a:gd name="T21" fmla="*/ 575 h 575"/>
                <a:gd name="T22" fmla="*/ 257 w 257"/>
                <a:gd name="T23" fmla="*/ 520 h 575"/>
                <a:gd name="T24" fmla="*/ 257 w 257"/>
                <a:gd name="T25" fmla="*/ 144 h 575"/>
                <a:gd name="T26" fmla="*/ 38 w 257"/>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575">
                  <a:moveTo>
                    <a:pt x="257" y="49"/>
                  </a:moveTo>
                  <a:lnTo>
                    <a:pt x="257" y="81"/>
                  </a:lnTo>
                  <a:cubicBezTo>
                    <a:pt x="194" y="109"/>
                    <a:pt x="123" y="73"/>
                    <a:pt x="98" y="3"/>
                  </a:cubicBezTo>
                  <a:cubicBezTo>
                    <a:pt x="98" y="2"/>
                    <a:pt x="98" y="1"/>
                    <a:pt x="97" y="1"/>
                  </a:cubicBezTo>
                  <a:lnTo>
                    <a:pt x="212" y="1"/>
                  </a:lnTo>
                  <a:cubicBezTo>
                    <a:pt x="237" y="0"/>
                    <a:pt x="257" y="21"/>
                    <a:pt x="257" y="49"/>
                  </a:cubicBezTo>
                  <a:close/>
                  <a:moveTo>
                    <a:pt x="38" y="144"/>
                  </a:moveTo>
                  <a:cubicBezTo>
                    <a:pt x="17" y="144"/>
                    <a:pt x="0" y="164"/>
                    <a:pt x="0" y="188"/>
                  </a:cubicBezTo>
                  <a:lnTo>
                    <a:pt x="0" y="460"/>
                  </a:lnTo>
                  <a:cubicBezTo>
                    <a:pt x="0" y="501"/>
                    <a:pt x="10" y="541"/>
                    <a:pt x="31" y="575"/>
                  </a:cubicBezTo>
                  <a:lnTo>
                    <a:pt x="203" y="575"/>
                  </a:lnTo>
                  <a:cubicBezTo>
                    <a:pt x="231" y="574"/>
                    <a:pt x="254" y="550"/>
                    <a:pt x="257" y="520"/>
                  </a:cubicBezTo>
                  <a:lnTo>
                    <a:pt x="257" y="144"/>
                  </a:lnTo>
                  <a:lnTo>
                    <a:pt x="38"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Rectangle 27">
              <a:extLst>
                <a:ext uri="{FF2B5EF4-FFF2-40B4-BE49-F238E27FC236}">
                  <a16:creationId xmlns:a16="http://schemas.microsoft.com/office/drawing/2014/main" id="{3F7E67F3-62C9-4387-94ED-40840C0C0D11}"/>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28">
              <a:extLst>
                <a:ext uri="{FF2B5EF4-FFF2-40B4-BE49-F238E27FC236}">
                  <a16:creationId xmlns:a16="http://schemas.microsoft.com/office/drawing/2014/main" id="{5EF763C8-71F7-4496-8A74-B87C34E6CB04}"/>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9">
              <a:extLst>
                <a:ext uri="{FF2B5EF4-FFF2-40B4-BE49-F238E27FC236}">
                  <a16:creationId xmlns:a16="http://schemas.microsoft.com/office/drawing/2014/main" id="{B49D5973-970B-497F-A549-48076FB04220}"/>
                </a:ext>
              </a:extLst>
            </p:cNvPr>
            <p:cNvSpPr>
              <a:spLocks noEditPoints="1"/>
            </p:cNvSpPr>
            <p:nvPr/>
          </p:nvSpPr>
          <p:spPr bwMode="auto">
            <a:xfrm>
              <a:off x="11382375" y="1735138"/>
              <a:ext cx="92075" cy="206375"/>
            </a:xfrm>
            <a:custGeom>
              <a:avLst/>
              <a:gdLst>
                <a:gd name="T0" fmla="*/ 257 w 257"/>
                <a:gd name="T1" fmla="*/ 49 h 575"/>
                <a:gd name="T2" fmla="*/ 257 w 257"/>
                <a:gd name="T3" fmla="*/ 81 h 575"/>
                <a:gd name="T4" fmla="*/ 98 w 257"/>
                <a:gd name="T5" fmla="*/ 3 h 575"/>
                <a:gd name="T6" fmla="*/ 97 w 257"/>
                <a:gd name="T7" fmla="*/ 1 h 575"/>
                <a:gd name="T8" fmla="*/ 212 w 257"/>
                <a:gd name="T9" fmla="*/ 1 h 575"/>
                <a:gd name="T10" fmla="*/ 257 w 257"/>
                <a:gd name="T11" fmla="*/ 49 h 575"/>
                <a:gd name="T12" fmla="*/ 38 w 257"/>
                <a:gd name="T13" fmla="*/ 144 h 575"/>
                <a:gd name="T14" fmla="*/ 0 w 257"/>
                <a:gd name="T15" fmla="*/ 188 h 575"/>
                <a:gd name="T16" fmla="*/ 0 w 257"/>
                <a:gd name="T17" fmla="*/ 460 h 575"/>
                <a:gd name="T18" fmla="*/ 31 w 257"/>
                <a:gd name="T19" fmla="*/ 575 h 575"/>
                <a:gd name="T20" fmla="*/ 203 w 257"/>
                <a:gd name="T21" fmla="*/ 575 h 575"/>
                <a:gd name="T22" fmla="*/ 257 w 257"/>
                <a:gd name="T23" fmla="*/ 520 h 575"/>
                <a:gd name="T24" fmla="*/ 257 w 257"/>
                <a:gd name="T25" fmla="*/ 144 h 575"/>
                <a:gd name="T26" fmla="*/ 38 w 257"/>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575">
                  <a:moveTo>
                    <a:pt x="257" y="49"/>
                  </a:moveTo>
                  <a:lnTo>
                    <a:pt x="257" y="81"/>
                  </a:lnTo>
                  <a:cubicBezTo>
                    <a:pt x="194" y="109"/>
                    <a:pt x="123" y="73"/>
                    <a:pt x="98" y="3"/>
                  </a:cubicBezTo>
                  <a:cubicBezTo>
                    <a:pt x="98" y="2"/>
                    <a:pt x="98" y="1"/>
                    <a:pt x="97" y="1"/>
                  </a:cubicBezTo>
                  <a:lnTo>
                    <a:pt x="212" y="1"/>
                  </a:lnTo>
                  <a:cubicBezTo>
                    <a:pt x="237" y="0"/>
                    <a:pt x="257" y="21"/>
                    <a:pt x="257" y="49"/>
                  </a:cubicBezTo>
                  <a:close/>
                  <a:moveTo>
                    <a:pt x="38" y="144"/>
                  </a:moveTo>
                  <a:cubicBezTo>
                    <a:pt x="17" y="144"/>
                    <a:pt x="0" y="164"/>
                    <a:pt x="0" y="188"/>
                  </a:cubicBezTo>
                  <a:lnTo>
                    <a:pt x="0" y="460"/>
                  </a:lnTo>
                  <a:cubicBezTo>
                    <a:pt x="0" y="501"/>
                    <a:pt x="10" y="541"/>
                    <a:pt x="31" y="575"/>
                  </a:cubicBezTo>
                  <a:lnTo>
                    <a:pt x="203" y="575"/>
                  </a:lnTo>
                  <a:cubicBezTo>
                    <a:pt x="231" y="574"/>
                    <a:pt x="254" y="550"/>
                    <a:pt x="257" y="520"/>
                  </a:cubicBezTo>
                  <a:lnTo>
                    <a:pt x="257" y="144"/>
                  </a:lnTo>
                  <a:lnTo>
                    <a:pt x="38"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Rectangle 30">
              <a:extLst>
                <a:ext uri="{FF2B5EF4-FFF2-40B4-BE49-F238E27FC236}">
                  <a16:creationId xmlns:a16="http://schemas.microsoft.com/office/drawing/2014/main" id="{4691883D-53BE-4C06-9D3A-416EF79593D1}"/>
                </a:ext>
              </a:extLst>
            </p:cNvPr>
            <p:cNvSpPr>
              <a:spLocks noChangeArrowheads="1"/>
            </p:cNvSpPr>
            <p:nvPr/>
          </p:nvSpPr>
          <p:spPr bwMode="auto">
            <a:xfrm>
              <a:off x="11380788" y="1730375"/>
              <a:ext cx="103188" cy="2111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1">
              <a:extLst>
                <a:ext uri="{FF2B5EF4-FFF2-40B4-BE49-F238E27FC236}">
                  <a16:creationId xmlns:a16="http://schemas.microsoft.com/office/drawing/2014/main" id="{8A9ED052-B7BB-48A4-9682-05DD98C0FE2E}"/>
                </a:ext>
              </a:extLst>
            </p:cNvPr>
            <p:cNvSpPr>
              <a:spLocks/>
            </p:cNvSpPr>
            <p:nvPr/>
          </p:nvSpPr>
          <p:spPr bwMode="auto">
            <a:xfrm>
              <a:off x="11274425" y="1719263"/>
              <a:ext cx="184150" cy="204788"/>
            </a:xfrm>
            <a:custGeom>
              <a:avLst/>
              <a:gdLst>
                <a:gd name="T0" fmla="*/ 43 w 514"/>
                <a:gd name="T1" fmla="*/ 0 h 574"/>
                <a:gd name="T2" fmla="*/ 471 w 514"/>
                <a:gd name="T3" fmla="*/ 0 h 574"/>
                <a:gd name="T4" fmla="*/ 514 w 514"/>
                <a:gd name="T5" fmla="*/ 48 h 574"/>
                <a:gd name="T6" fmla="*/ 514 w 514"/>
                <a:gd name="T7" fmla="*/ 526 h 574"/>
                <a:gd name="T8" fmla="*/ 471 w 514"/>
                <a:gd name="T9" fmla="*/ 574 h 574"/>
                <a:gd name="T10" fmla="*/ 43 w 514"/>
                <a:gd name="T11" fmla="*/ 574 h 574"/>
                <a:gd name="T12" fmla="*/ 0 w 514"/>
                <a:gd name="T13" fmla="*/ 526 h 574"/>
                <a:gd name="T14" fmla="*/ 0 w 514"/>
                <a:gd name="T15" fmla="*/ 48 h 574"/>
                <a:gd name="T16" fmla="*/ 43 w 514"/>
                <a:gd name="T17"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4">
                  <a:moveTo>
                    <a:pt x="43" y="0"/>
                  </a:moveTo>
                  <a:lnTo>
                    <a:pt x="471" y="0"/>
                  </a:lnTo>
                  <a:cubicBezTo>
                    <a:pt x="495" y="0"/>
                    <a:pt x="514" y="21"/>
                    <a:pt x="514" y="48"/>
                  </a:cubicBezTo>
                  <a:lnTo>
                    <a:pt x="514" y="526"/>
                  </a:lnTo>
                  <a:cubicBezTo>
                    <a:pt x="514" y="553"/>
                    <a:pt x="495" y="574"/>
                    <a:pt x="471" y="574"/>
                  </a:cubicBezTo>
                  <a:lnTo>
                    <a:pt x="43" y="574"/>
                  </a:lnTo>
                  <a:cubicBezTo>
                    <a:pt x="19" y="574"/>
                    <a:pt x="0" y="553"/>
                    <a:pt x="0" y="526"/>
                  </a:cubicBezTo>
                  <a:lnTo>
                    <a:pt x="0" y="48"/>
                  </a:lnTo>
                  <a:cubicBezTo>
                    <a:pt x="0" y="21"/>
                    <a:pt x="19" y="0"/>
                    <a:pt x="43"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32">
              <a:extLst>
                <a:ext uri="{FF2B5EF4-FFF2-40B4-BE49-F238E27FC236}">
                  <a16:creationId xmlns:a16="http://schemas.microsoft.com/office/drawing/2014/main" id="{09523F84-6A6F-4662-ADE7-455C2EDA24A8}"/>
                </a:ext>
              </a:extLst>
            </p:cNvPr>
            <p:cNvSpPr>
              <a:spLocks/>
            </p:cNvSpPr>
            <p:nvPr/>
          </p:nvSpPr>
          <p:spPr bwMode="auto">
            <a:xfrm>
              <a:off x="11314113" y="1758950"/>
              <a:ext cx="88900" cy="123825"/>
            </a:xfrm>
            <a:custGeom>
              <a:avLst/>
              <a:gdLst>
                <a:gd name="T0" fmla="*/ 56 w 56"/>
                <a:gd name="T1" fmla="*/ 16 h 78"/>
                <a:gd name="T2" fmla="*/ 35 w 56"/>
                <a:gd name="T3" fmla="*/ 16 h 78"/>
                <a:gd name="T4" fmla="*/ 35 w 56"/>
                <a:gd name="T5" fmla="*/ 78 h 78"/>
                <a:gd name="T6" fmla="*/ 21 w 56"/>
                <a:gd name="T7" fmla="*/ 78 h 78"/>
                <a:gd name="T8" fmla="*/ 21 w 56"/>
                <a:gd name="T9" fmla="*/ 16 h 78"/>
                <a:gd name="T10" fmla="*/ 0 w 56"/>
                <a:gd name="T11" fmla="*/ 16 h 78"/>
                <a:gd name="T12" fmla="*/ 0 w 56"/>
                <a:gd name="T13" fmla="*/ 0 h 78"/>
                <a:gd name="T14" fmla="*/ 56 w 56"/>
                <a:gd name="T15" fmla="*/ 0 h 78"/>
                <a:gd name="T16" fmla="*/ 56 w 56"/>
                <a:gd name="T17"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8">
                  <a:moveTo>
                    <a:pt x="56" y="16"/>
                  </a:moveTo>
                  <a:lnTo>
                    <a:pt x="35" y="16"/>
                  </a:lnTo>
                  <a:lnTo>
                    <a:pt x="35" y="78"/>
                  </a:lnTo>
                  <a:lnTo>
                    <a:pt x="21" y="78"/>
                  </a:lnTo>
                  <a:lnTo>
                    <a:pt x="21" y="16"/>
                  </a:lnTo>
                  <a:lnTo>
                    <a:pt x="0" y="16"/>
                  </a:lnTo>
                  <a:lnTo>
                    <a:pt x="0" y="0"/>
                  </a:lnTo>
                  <a:lnTo>
                    <a:pt x="56" y="0"/>
                  </a:lnTo>
                  <a:lnTo>
                    <a:pt x="5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3">
              <a:extLst>
                <a:ext uri="{FF2B5EF4-FFF2-40B4-BE49-F238E27FC236}">
                  <a16:creationId xmlns:a16="http://schemas.microsoft.com/office/drawing/2014/main" id="{8DA8CEE0-DA5F-4BAB-8F30-880DE5989D0E}"/>
                </a:ext>
              </a:extLst>
            </p:cNvPr>
            <p:cNvSpPr>
              <a:spLocks/>
            </p:cNvSpPr>
            <p:nvPr/>
          </p:nvSpPr>
          <p:spPr bwMode="auto">
            <a:xfrm>
              <a:off x="10455275" y="2278063"/>
              <a:ext cx="138113" cy="138113"/>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34">
              <a:extLst>
                <a:ext uri="{FF2B5EF4-FFF2-40B4-BE49-F238E27FC236}">
                  <a16:creationId xmlns:a16="http://schemas.microsoft.com/office/drawing/2014/main" id="{D516A960-24CD-497E-91FF-83DFF9CCEE6A}"/>
                </a:ext>
              </a:extLst>
            </p:cNvPr>
            <p:cNvSpPr>
              <a:spLocks/>
            </p:cNvSpPr>
            <p:nvPr/>
          </p:nvSpPr>
          <p:spPr bwMode="auto">
            <a:xfrm>
              <a:off x="10420350" y="2432050"/>
              <a:ext cx="206375" cy="103188"/>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35">
              <a:extLst>
                <a:ext uri="{FF2B5EF4-FFF2-40B4-BE49-F238E27FC236}">
                  <a16:creationId xmlns:a16="http://schemas.microsoft.com/office/drawing/2014/main" id="{003B8DF5-B6A8-427F-8E88-9239E4EF6433}"/>
                </a:ext>
              </a:extLst>
            </p:cNvPr>
            <p:cNvSpPr>
              <a:spLocks/>
            </p:cNvSpPr>
            <p:nvPr/>
          </p:nvSpPr>
          <p:spPr bwMode="auto">
            <a:xfrm>
              <a:off x="10309225" y="2466975"/>
              <a:ext cx="95250" cy="68263"/>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36">
              <a:extLst>
                <a:ext uri="{FF2B5EF4-FFF2-40B4-BE49-F238E27FC236}">
                  <a16:creationId xmlns:a16="http://schemas.microsoft.com/office/drawing/2014/main" id="{21938FCB-693A-4CE3-A72D-D9A9319CE7A7}"/>
                </a:ext>
              </a:extLst>
            </p:cNvPr>
            <p:cNvSpPr>
              <a:spLocks/>
            </p:cNvSpPr>
            <p:nvPr/>
          </p:nvSpPr>
          <p:spPr bwMode="auto">
            <a:xfrm>
              <a:off x="10325100" y="2346325"/>
              <a:ext cx="103188" cy="104775"/>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5"/>
                    <a:pt x="104" y="287"/>
                    <a:pt x="136" y="289"/>
                  </a:cubicBezTo>
                  <a:cubicBezTo>
                    <a:pt x="138" y="289"/>
                    <a:pt x="140" y="289"/>
                    <a:pt x="145" y="289"/>
                  </a:cubicBezTo>
                  <a:cubicBezTo>
                    <a:pt x="147" y="289"/>
                    <a:pt x="149" y="289"/>
                    <a:pt x="154" y="289"/>
                  </a:cubicBezTo>
                  <a:cubicBezTo>
                    <a:pt x="185" y="287"/>
                    <a:pt x="215" y="275"/>
                    <a:pt x="237" y="255"/>
                  </a:cubicBezTo>
                  <a:cubicBezTo>
                    <a:pt x="269" y="228"/>
                    <a:pt x="289" y="190"/>
                    <a:pt x="289" y="145"/>
                  </a:cubicBezTo>
                  <a:cubicBezTo>
                    <a:pt x="289" y="66"/>
                    <a:pt x="226" y="0"/>
                    <a:pt x="145"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Rectangle 37">
              <a:extLst>
                <a:ext uri="{FF2B5EF4-FFF2-40B4-BE49-F238E27FC236}">
                  <a16:creationId xmlns:a16="http://schemas.microsoft.com/office/drawing/2014/main" id="{095F43E7-2F39-4009-A979-F5ED0AFB068E}"/>
                </a:ext>
              </a:extLst>
            </p:cNvPr>
            <p:cNvSpPr>
              <a:spLocks noChangeArrowheads="1"/>
            </p:cNvSpPr>
            <p:nvPr/>
          </p:nvSpPr>
          <p:spPr bwMode="auto">
            <a:xfrm>
              <a:off x="10680700" y="2293938"/>
              <a:ext cx="49212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Segoe UI" panose="020B0502040204020203" pitchFamily="34" charset="0"/>
                </a:rPr>
                <a:t>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1" name="Group 20">
            <a:extLst>
              <a:ext uri="{FF2B5EF4-FFF2-40B4-BE49-F238E27FC236}">
                <a16:creationId xmlns:a16="http://schemas.microsoft.com/office/drawing/2014/main" id="{FB397E43-C4B7-444C-BA93-3D3A4D8F32EE}"/>
              </a:ext>
            </a:extLst>
          </p:cNvPr>
          <p:cNvGrpSpPr/>
          <p:nvPr/>
        </p:nvGrpSpPr>
        <p:grpSpPr>
          <a:xfrm>
            <a:off x="7199789" y="385951"/>
            <a:ext cx="4296763" cy="2594774"/>
            <a:chOff x="7069737" y="774675"/>
            <a:chExt cx="4296763" cy="2594774"/>
          </a:xfrm>
        </p:grpSpPr>
        <p:grpSp>
          <p:nvGrpSpPr>
            <p:cNvPr id="126" name="Group 125">
              <a:extLst>
                <a:ext uri="{FF2B5EF4-FFF2-40B4-BE49-F238E27FC236}">
                  <a16:creationId xmlns:a16="http://schemas.microsoft.com/office/drawing/2014/main" id="{0CA9F5BB-D1F0-4F77-8BB9-63541BF00470}"/>
                </a:ext>
              </a:extLst>
            </p:cNvPr>
            <p:cNvGrpSpPr/>
            <p:nvPr/>
          </p:nvGrpSpPr>
          <p:grpSpPr>
            <a:xfrm>
              <a:off x="7069737" y="2376608"/>
              <a:ext cx="2540988" cy="992841"/>
              <a:chOff x="7069737" y="2376608"/>
              <a:chExt cx="2540988" cy="992841"/>
            </a:xfrm>
          </p:grpSpPr>
          <p:sp>
            <p:nvSpPr>
              <p:cNvPr id="127" name="Freeform 5">
                <a:extLst>
                  <a:ext uri="{FF2B5EF4-FFF2-40B4-BE49-F238E27FC236}">
                    <a16:creationId xmlns:a16="http://schemas.microsoft.com/office/drawing/2014/main" id="{F178841B-A9DA-4CFB-9C03-3A65A6229A9C}"/>
                  </a:ext>
                </a:extLst>
              </p:cNvPr>
              <p:cNvSpPr>
                <a:spLocks/>
              </p:cNvSpPr>
              <p:nvPr/>
            </p:nvSpPr>
            <p:spPr bwMode="auto">
              <a:xfrm>
                <a:off x="8455025" y="2884488"/>
                <a:ext cx="1155700" cy="434975"/>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2"/>
                      <a:pt x="3232" y="893"/>
                    </a:cubicBezTo>
                    <a:lnTo>
                      <a:pt x="3232" y="324"/>
                    </a:lnTo>
                    <a:cubicBezTo>
                      <a:pt x="3232" y="145"/>
                      <a:pt x="3087"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6">
                <a:extLst>
                  <a:ext uri="{FF2B5EF4-FFF2-40B4-BE49-F238E27FC236}">
                    <a16:creationId xmlns:a16="http://schemas.microsoft.com/office/drawing/2014/main" id="{037C82AB-BBD4-4972-B77B-58B41C9FEBF1}"/>
                  </a:ext>
                </a:extLst>
              </p:cNvPr>
              <p:cNvSpPr>
                <a:spLocks/>
              </p:cNvSpPr>
              <p:nvPr/>
            </p:nvSpPr>
            <p:spPr bwMode="auto">
              <a:xfrm>
                <a:off x="8455025" y="2884488"/>
                <a:ext cx="1155700" cy="434975"/>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2"/>
                      <a:pt x="3232" y="893"/>
                    </a:cubicBezTo>
                    <a:lnTo>
                      <a:pt x="3232" y="324"/>
                    </a:lnTo>
                    <a:cubicBezTo>
                      <a:pt x="3232" y="145"/>
                      <a:pt x="3087" y="0"/>
                      <a:pt x="2909" y="0"/>
                    </a:cubicBezTo>
                    <a:lnTo>
                      <a:pt x="323" y="0"/>
                    </a:lnTo>
                    <a:cubicBezTo>
                      <a:pt x="145" y="0"/>
                      <a:pt x="0" y="145"/>
                      <a:pt x="0" y="324"/>
                    </a:cubicBezTo>
                    <a:lnTo>
                      <a:pt x="0" y="893"/>
                    </a:lnTo>
                    <a:cubicBezTo>
                      <a:pt x="0" y="1072"/>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Rectangle 7">
                <a:extLst>
                  <a:ext uri="{FF2B5EF4-FFF2-40B4-BE49-F238E27FC236}">
                    <a16:creationId xmlns:a16="http://schemas.microsoft.com/office/drawing/2014/main" id="{F626A325-9870-4C9F-9A69-30A3D1DF2A64}"/>
                  </a:ext>
                </a:extLst>
              </p:cNvPr>
              <p:cNvSpPr>
                <a:spLocks noChangeArrowheads="1"/>
              </p:cNvSpPr>
              <p:nvPr/>
            </p:nvSpPr>
            <p:spPr bwMode="auto">
              <a:xfrm>
                <a:off x="8840616" y="2999908"/>
                <a:ext cx="3552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Calibri" panose="020F0502020204030204" pitchFamily="34" charset="0"/>
                  </a:rPr>
                  <a:t>Priva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0" name="Rectangle 8">
                <a:extLst>
                  <a:ext uri="{FF2B5EF4-FFF2-40B4-BE49-F238E27FC236}">
                    <a16:creationId xmlns:a16="http://schemas.microsoft.com/office/drawing/2014/main" id="{3838EA2E-8853-4300-B643-46B24957C953}"/>
                  </a:ext>
                </a:extLst>
              </p:cNvPr>
              <p:cNvSpPr>
                <a:spLocks noChangeArrowheads="1"/>
              </p:cNvSpPr>
              <p:nvPr/>
            </p:nvSpPr>
            <p:spPr bwMode="auto">
              <a:xfrm>
                <a:off x="8610600" y="3092450"/>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1" name="Rectangle 9">
                <a:extLst>
                  <a:ext uri="{FF2B5EF4-FFF2-40B4-BE49-F238E27FC236}">
                    <a16:creationId xmlns:a16="http://schemas.microsoft.com/office/drawing/2014/main" id="{CF1F4240-5362-4B25-877C-EE1868827F11}"/>
                  </a:ext>
                </a:extLst>
              </p:cNvPr>
              <p:cNvSpPr>
                <a:spLocks noChangeArrowheads="1"/>
              </p:cNvSpPr>
              <p:nvPr/>
            </p:nvSpPr>
            <p:spPr bwMode="auto">
              <a:xfrm>
                <a:off x="7514237" y="2613146"/>
                <a:ext cx="12477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define privacy 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Freeform 38">
                <a:extLst>
                  <a:ext uri="{FF2B5EF4-FFF2-40B4-BE49-F238E27FC236}">
                    <a16:creationId xmlns:a16="http://schemas.microsoft.com/office/drawing/2014/main" id="{C18BC162-D075-41D2-AEF9-72F226138FF8}"/>
                  </a:ext>
                </a:extLst>
              </p:cNvPr>
              <p:cNvSpPr>
                <a:spLocks/>
              </p:cNvSpPr>
              <p:nvPr/>
            </p:nvSpPr>
            <p:spPr bwMode="auto">
              <a:xfrm>
                <a:off x="7215787" y="2376608"/>
                <a:ext cx="138113" cy="138113"/>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6"/>
                      <a:pt x="221" y="0"/>
                      <a:pt x="194" y="0"/>
                    </a:cubicBezTo>
                    <a:cubicBezTo>
                      <a:pt x="167" y="0"/>
                      <a:pt x="137" y="6"/>
                      <a:pt x="115" y="18"/>
                    </a:cubicBezTo>
                    <a:cubicBezTo>
                      <a:pt x="49"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39">
                <a:extLst>
                  <a:ext uri="{FF2B5EF4-FFF2-40B4-BE49-F238E27FC236}">
                    <a16:creationId xmlns:a16="http://schemas.microsoft.com/office/drawing/2014/main" id="{C9B03C68-FFF1-4EFA-9444-71744DAB5CC8}"/>
                  </a:ext>
                </a:extLst>
              </p:cNvPr>
              <p:cNvSpPr>
                <a:spLocks/>
              </p:cNvSpPr>
              <p:nvPr/>
            </p:nvSpPr>
            <p:spPr bwMode="auto">
              <a:xfrm>
                <a:off x="7182449" y="2530596"/>
                <a:ext cx="206375" cy="103188"/>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40">
                <a:extLst>
                  <a:ext uri="{FF2B5EF4-FFF2-40B4-BE49-F238E27FC236}">
                    <a16:creationId xmlns:a16="http://schemas.microsoft.com/office/drawing/2014/main" id="{CE43B46E-322C-4128-B5A4-D626C50065CA}"/>
                  </a:ext>
                </a:extLst>
              </p:cNvPr>
              <p:cNvSpPr>
                <a:spLocks/>
              </p:cNvSpPr>
              <p:nvPr/>
            </p:nvSpPr>
            <p:spPr bwMode="auto">
              <a:xfrm>
                <a:off x="7069737" y="2565521"/>
                <a:ext cx="95250" cy="68263"/>
              </a:xfrm>
              <a:custGeom>
                <a:avLst/>
                <a:gdLst>
                  <a:gd name="T0" fmla="*/ 0 w 269"/>
                  <a:gd name="T1" fmla="*/ 194 h 194"/>
                  <a:gd name="T2" fmla="*/ 226 w 269"/>
                  <a:gd name="T3" fmla="*/ 194 h 194"/>
                  <a:gd name="T4" fmla="*/ 269 w 269"/>
                  <a:gd name="T5" fmla="*/ 18 h 194"/>
                  <a:gd name="T6" fmla="*/ 192 w 269"/>
                  <a:gd name="T7" fmla="*/ 3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3"/>
                      <a:pt x="269" y="18"/>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41">
                <a:extLst>
                  <a:ext uri="{FF2B5EF4-FFF2-40B4-BE49-F238E27FC236}">
                    <a16:creationId xmlns:a16="http://schemas.microsoft.com/office/drawing/2014/main" id="{E622DF8F-1293-4BC0-8A9F-D84D6D1BF030}"/>
                  </a:ext>
                </a:extLst>
              </p:cNvPr>
              <p:cNvSpPr>
                <a:spLocks/>
              </p:cNvSpPr>
              <p:nvPr/>
            </p:nvSpPr>
            <p:spPr bwMode="auto">
              <a:xfrm>
                <a:off x="7087199" y="2444871"/>
                <a:ext cx="103188" cy="103188"/>
              </a:xfrm>
              <a:custGeom>
                <a:avLst/>
                <a:gdLst>
                  <a:gd name="T0" fmla="*/ 144 w 289"/>
                  <a:gd name="T1" fmla="*/ 0 h 288"/>
                  <a:gd name="T2" fmla="*/ 0 w 289"/>
                  <a:gd name="T3" fmla="*/ 144 h 288"/>
                  <a:gd name="T4" fmla="*/ 52 w 289"/>
                  <a:gd name="T5" fmla="*/ 254 h 288"/>
                  <a:gd name="T6" fmla="*/ 135 w 289"/>
                  <a:gd name="T7" fmla="*/ 288 h 288"/>
                  <a:gd name="T8" fmla="*/ 144 w 289"/>
                  <a:gd name="T9" fmla="*/ 288 h 288"/>
                  <a:gd name="T10" fmla="*/ 153 w 289"/>
                  <a:gd name="T11" fmla="*/ 288 h 288"/>
                  <a:gd name="T12" fmla="*/ 237 w 289"/>
                  <a:gd name="T13" fmla="*/ 254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7"/>
                      <a:pt x="52" y="254"/>
                    </a:cubicBezTo>
                    <a:cubicBezTo>
                      <a:pt x="74" y="275"/>
                      <a:pt x="104" y="286"/>
                      <a:pt x="135" y="288"/>
                    </a:cubicBezTo>
                    <a:cubicBezTo>
                      <a:pt x="137" y="288"/>
                      <a:pt x="140" y="288"/>
                      <a:pt x="144" y="288"/>
                    </a:cubicBezTo>
                    <a:cubicBezTo>
                      <a:pt x="146" y="288"/>
                      <a:pt x="149" y="288"/>
                      <a:pt x="153" y="288"/>
                    </a:cubicBezTo>
                    <a:cubicBezTo>
                      <a:pt x="185" y="286"/>
                      <a:pt x="214" y="275"/>
                      <a:pt x="237" y="254"/>
                    </a:cubicBezTo>
                    <a:cubicBezTo>
                      <a:pt x="268" y="227"/>
                      <a:pt x="289" y="189"/>
                      <a:pt x="289" y="144"/>
                    </a:cubicBezTo>
                    <a:cubicBezTo>
                      <a:pt x="289" y="65"/>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Rectangle 42">
                <a:extLst>
                  <a:ext uri="{FF2B5EF4-FFF2-40B4-BE49-F238E27FC236}">
                    <a16:creationId xmlns:a16="http://schemas.microsoft.com/office/drawing/2014/main" id="{F394B293-C2AB-41B4-AE22-368ACA3D6060}"/>
                  </a:ext>
                </a:extLst>
              </p:cNvPr>
              <p:cNvSpPr>
                <a:spLocks noChangeArrowheads="1"/>
              </p:cNvSpPr>
              <p:nvPr/>
            </p:nvSpPr>
            <p:spPr bwMode="auto">
              <a:xfrm>
                <a:off x="7469787" y="2428996"/>
                <a:ext cx="1174750"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Segoe UI" panose="020B0502040204020203" pitchFamily="34" charset="0"/>
                  </a:rPr>
                  <a:t>Administrato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 name="TextBox 3">
              <a:extLst>
                <a:ext uri="{FF2B5EF4-FFF2-40B4-BE49-F238E27FC236}">
                  <a16:creationId xmlns:a16="http://schemas.microsoft.com/office/drawing/2014/main" id="{490E2E76-66D1-46FB-B00C-03CAB8180A77}"/>
                </a:ext>
              </a:extLst>
            </p:cNvPr>
            <p:cNvSpPr txBox="1"/>
            <p:nvPr/>
          </p:nvSpPr>
          <p:spPr>
            <a:xfrm flipH="1">
              <a:off x="7300503" y="774675"/>
              <a:ext cx="4065997" cy="627864"/>
            </a:xfrm>
            <a:prstGeom prst="rect">
              <a:avLst/>
            </a:prstGeom>
            <a:no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gradFill>
                    <a:gsLst>
                      <a:gs pos="2917">
                        <a:srgbClr val="282828"/>
                      </a:gs>
                      <a:gs pos="30000">
                        <a:srgbClr val="282828"/>
                      </a:gs>
                    </a:gsLst>
                    <a:lin ang="5400000" scaled="0"/>
                  </a:gradFill>
                  <a:latin typeface="Segoe UI"/>
                </a:rPr>
                <a:t>Risk Management Policies</a:t>
              </a:r>
              <a:endParaRPr kumimoji="0" lang="en-US"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endParaRPr>
            </a:p>
          </p:txBody>
        </p:sp>
      </p:grpSp>
      <p:pic>
        <p:nvPicPr>
          <p:cNvPr id="13" name="Picture 12">
            <a:extLst>
              <a:ext uri="{FF2B5EF4-FFF2-40B4-BE49-F238E27FC236}">
                <a16:creationId xmlns:a16="http://schemas.microsoft.com/office/drawing/2014/main" id="{7C5C9133-720A-43DB-A2FD-51B154A95FDF}"/>
              </a:ext>
            </a:extLst>
          </p:cNvPr>
          <p:cNvPicPr>
            <a:picLocks noChangeAspect="1"/>
          </p:cNvPicPr>
          <p:nvPr/>
        </p:nvPicPr>
        <p:blipFill>
          <a:blip r:embed="rId2"/>
          <a:stretch>
            <a:fillRect/>
          </a:stretch>
        </p:blipFill>
        <p:spPr>
          <a:xfrm>
            <a:off x="9748341" y="2512058"/>
            <a:ext cx="2034540" cy="474346"/>
          </a:xfrm>
          <a:prstGeom prst="rect">
            <a:avLst/>
          </a:prstGeom>
        </p:spPr>
      </p:pic>
      <p:pic>
        <p:nvPicPr>
          <p:cNvPr id="15" name="Picture 14">
            <a:extLst>
              <a:ext uri="{FF2B5EF4-FFF2-40B4-BE49-F238E27FC236}">
                <a16:creationId xmlns:a16="http://schemas.microsoft.com/office/drawing/2014/main" id="{68586B7A-6469-4968-B114-F1206B3F4134}"/>
              </a:ext>
            </a:extLst>
          </p:cNvPr>
          <p:cNvPicPr>
            <a:picLocks noChangeAspect="1"/>
          </p:cNvPicPr>
          <p:nvPr/>
        </p:nvPicPr>
        <p:blipFill>
          <a:blip r:embed="rId3"/>
          <a:stretch>
            <a:fillRect/>
          </a:stretch>
        </p:blipFill>
        <p:spPr>
          <a:xfrm>
            <a:off x="8302503" y="2961367"/>
            <a:ext cx="3423286" cy="2228850"/>
          </a:xfrm>
          <a:prstGeom prst="rect">
            <a:avLst/>
          </a:prstGeom>
        </p:spPr>
      </p:pic>
    </p:spTree>
    <p:extLst>
      <p:ext uri="{BB962C8B-B14F-4D97-AF65-F5344CB8AC3E}">
        <p14:creationId xmlns:p14="http://schemas.microsoft.com/office/powerpoint/2010/main" val="295318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wipe(up)">
                                      <p:cBhvr>
                                        <p:cTn id="12" dur="10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left)">
                                      <p:cBhvr>
                                        <p:cTn id="17" dur="10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wipe(left)">
                                      <p:cBhvr>
                                        <p:cTn id="22" dur="10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up)">
                                      <p:cBhvr>
                                        <p:cTn id="32" dur="10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10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61"/>
                                        </p:tgtEl>
                                        <p:attrNameLst>
                                          <p:attrName>style.visibility</p:attrName>
                                        </p:attrNameLst>
                                      </p:cBhvr>
                                      <p:to>
                                        <p:strVal val="visible"/>
                                      </p:to>
                                    </p:set>
                                    <p:animEffect transition="in" filter="wipe(down)">
                                      <p:cBhvr>
                                        <p:cTn id="42" dur="1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8" name="Group 157">
            <a:extLst>
              <a:ext uri="{FF2B5EF4-FFF2-40B4-BE49-F238E27FC236}">
                <a16:creationId xmlns:a16="http://schemas.microsoft.com/office/drawing/2014/main" id="{65A5B82B-D4DA-5CB1-10B2-BFF4307DF956}"/>
              </a:ext>
            </a:extLst>
          </p:cNvPr>
          <p:cNvGrpSpPr/>
          <p:nvPr/>
        </p:nvGrpSpPr>
        <p:grpSpPr>
          <a:xfrm>
            <a:off x="7673975" y="3636963"/>
            <a:ext cx="2887663" cy="1874838"/>
            <a:chOff x="7673975" y="3636963"/>
            <a:chExt cx="2887663" cy="1874838"/>
          </a:xfrm>
        </p:grpSpPr>
        <p:sp>
          <p:nvSpPr>
            <p:cNvPr id="159" name="Rectangle 5">
              <a:extLst>
                <a:ext uri="{FF2B5EF4-FFF2-40B4-BE49-F238E27FC236}">
                  <a16:creationId xmlns:a16="http://schemas.microsoft.com/office/drawing/2014/main" id="{9B958BF7-2ACA-B274-A864-0FAB003F1FBC}"/>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160" name="Group 159">
              <a:extLst>
                <a:ext uri="{FF2B5EF4-FFF2-40B4-BE49-F238E27FC236}">
                  <a16:creationId xmlns:a16="http://schemas.microsoft.com/office/drawing/2014/main" id="{E5EE7D1C-6E42-1E9A-790B-8180D7D99202}"/>
                </a:ext>
              </a:extLst>
            </p:cNvPr>
            <p:cNvGrpSpPr/>
            <p:nvPr/>
          </p:nvGrpSpPr>
          <p:grpSpPr>
            <a:xfrm>
              <a:off x="7673975" y="3636963"/>
              <a:ext cx="2887663" cy="1874838"/>
              <a:chOff x="7673975" y="3636963"/>
              <a:chExt cx="2887663" cy="1874838"/>
            </a:xfrm>
          </p:grpSpPr>
          <p:sp>
            <p:nvSpPr>
              <p:cNvPr id="161" name="Rectangle 6">
                <a:extLst>
                  <a:ext uri="{FF2B5EF4-FFF2-40B4-BE49-F238E27FC236}">
                    <a16:creationId xmlns:a16="http://schemas.microsoft.com/office/drawing/2014/main" id="{FCD8CF1A-58E4-6E25-9B80-27404CCC12BA}"/>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2" name="Rectangle 7">
                <a:extLst>
                  <a:ext uri="{FF2B5EF4-FFF2-40B4-BE49-F238E27FC236}">
                    <a16:creationId xmlns:a16="http://schemas.microsoft.com/office/drawing/2014/main" id="{31C9AEB6-082A-1D18-F87C-C847D54B318B}"/>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3" name="Rectangle 8">
                <a:extLst>
                  <a:ext uri="{FF2B5EF4-FFF2-40B4-BE49-F238E27FC236}">
                    <a16:creationId xmlns:a16="http://schemas.microsoft.com/office/drawing/2014/main" id="{1FC429E7-7AE6-DFB6-3757-F634C43CBB98}"/>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4" name="Freeform 57">
                <a:extLst>
                  <a:ext uri="{FF2B5EF4-FFF2-40B4-BE49-F238E27FC236}">
                    <a16:creationId xmlns:a16="http://schemas.microsoft.com/office/drawing/2014/main" id="{303150A3-F704-E113-BFA5-2EAE0E779587}"/>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5" name="Freeform 58">
                <a:extLst>
                  <a:ext uri="{FF2B5EF4-FFF2-40B4-BE49-F238E27FC236}">
                    <a16:creationId xmlns:a16="http://schemas.microsoft.com/office/drawing/2014/main" id="{DFB62FFF-3B7E-214A-B112-10A949380FF9}"/>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6" name="Rectangle 59">
                <a:extLst>
                  <a:ext uri="{FF2B5EF4-FFF2-40B4-BE49-F238E27FC236}">
                    <a16:creationId xmlns:a16="http://schemas.microsoft.com/office/drawing/2014/main" id="{FE75869E-9E89-80A4-70AF-1CB162137D53}"/>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167" name="Rectangle 60">
                <a:extLst>
                  <a:ext uri="{FF2B5EF4-FFF2-40B4-BE49-F238E27FC236}">
                    <a16:creationId xmlns:a16="http://schemas.microsoft.com/office/drawing/2014/main" id="{F0A75EBB-F4D1-3D09-A96C-2EDE6EDA43C2}"/>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8" name="Freeform 61">
                <a:extLst>
                  <a:ext uri="{FF2B5EF4-FFF2-40B4-BE49-F238E27FC236}">
                    <a16:creationId xmlns:a16="http://schemas.microsoft.com/office/drawing/2014/main" id="{E486BAAC-641D-3DD7-58D6-AB88422C974B}"/>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Freeform 62">
                <a:extLst>
                  <a:ext uri="{FF2B5EF4-FFF2-40B4-BE49-F238E27FC236}">
                    <a16:creationId xmlns:a16="http://schemas.microsoft.com/office/drawing/2014/main" id="{EBD30EF0-BEC1-D7A1-7E78-DF9E0828A50A}"/>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Rectangle 63">
                <a:extLst>
                  <a:ext uri="{FF2B5EF4-FFF2-40B4-BE49-F238E27FC236}">
                    <a16:creationId xmlns:a16="http://schemas.microsoft.com/office/drawing/2014/main" id="{A60DFDBA-5D33-976B-9019-E33B733A5A35}"/>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1" name="Rectangle 64">
                <a:extLst>
                  <a:ext uri="{FF2B5EF4-FFF2-40B4-BE49-F238E27FC236}">
                    <a16:creationId xmlns:a16="http://schemas.microsoft.com/office/drawing/2014/main" id="{91B5A110-482E-77CF-6DF1-90E0E643D96E}"/>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2" name="Freeform 65">
                <a:extLst>
                  <a:ext uri="{FF2B5EF4-FFF2-40B4-BE49-F238E27FC236}">
                    <a16:creationId xmlns:a16="http://schemas.microsoft.com/office/drawing/2014/main" id="{7C63630D-5535-A400-884B-19AB598EAC60}"/>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Freeform 66">
                <a:extLst>
                  <a:ext uri="{FF2B5EF4-FFF2-40B4-BE49-F238E27FC236}">
                    <a16:creationId xmlns:a16="http://schemas.microsoft.com/office/drawing/2014/main" id="{04082EAD-495D-ED50-8945-46C018697049}"/>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Rectangle 67">
                <a:extLst>
                  <a:ext uri="{FF2B5EF4-FFF2-40B4-BE49-F238E27FC236}">
                    <a16:creationId xmlns:a16="http://schemas.microsoft.com/office/drawing/2014/main" id="{3F1B97E3-A2C3-731E-CBE0-E456B0D04F96}"/>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5" name="Rectangle 68">
                <a:extLst>
                  <a:ext uri="{FF2B5EF4-FFF2-40B4-BE49-F238E27FC236}">
                    <a16:creationId xmlns:a16="http://schemas.microsoft.com/office/drawing/2014/main" id="{04F61E11-67AE-1CAD-7414-146DF087E03C}"/>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grpSp>
      <p:sp>
        <p:nvSpPr>
          <p:cNvPr id="144" name="Freeform 13">
            <a:extLst>
              <a:ext uri="{FF2B5EF4-FFF2-40B4-BE49-F238E27FC236}">
                <a16:creationId xmlns:a16="http://schemas.microsoft.com/office/drawing/2014/main" id="{169DF38D-E0E1-42F0-86A2-3FA4BC4D8068}"/>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5" name="Freeform 14">
            <a:extLst>
              <a:ext uri="{FF2B5EF4-FFF2-40B4-BE49-F238E27FC236}">
                <a16:creationId xmlns:a16="http://schemas.microsoft.com/office/drawing/2014/main" id="{4CD63048-17FF-4CD0-BF09-52F71B4BA878}"/>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6" name="Rectangle 15">
            <a:extLst>
              <a:ext uri="{FF2B5EF4-FFF2-40B4-BE49-F238E27FC236}">
                <a16:creationId xmlns:a16="http://schemas.microsoft.com/office/drawing/2014/main" id="{EEC5B5E1-2303-4FF2-9F9B-CE77DDC32F81}"/>
              </a:ext>
            </a:extLst>
          </p:cNvPr>
          <p:cNvSpPr>
            <a:spLocks noChangeArrowheads="1"/>
          </p:cNvSpPr>
          <p:nvPr/>
        </p:nvSpPr>
        <p:spPr bwMode="auto">
          <a:xfrm>
            <a:off x="4797179" y="807692"/>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4" name="TextBox 3">
            <a:extLst>
              <a:ext uri="{FF2B5EF4-FFF2-40B4-BE49-F238E27FC236}">
                <a16:creationId xmlns:a16="http://schemas.microsoft.com/office/drawing/2014/main" id="{5007C419-0F8D-491A-8AE7-8F9520CDA7BF}"/>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Summary</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147B6A27-F062-E3F6-F6D7-93CD1486B87D}"/>
              </a:ext>
            </a:extLst>
          </p:cNvPr>
          <p:cNvGrpSpPr/>
          <p:nvPr/>
        </p:nvGrpSpPr>
        <p:grpSpPr>
          <a:xfrm>
            <a:off x="4456113" y="1082676"/>
            <a:ext cx="2125662" cy="2165350"/>
            <a:chOff x="4452938" y="1082675"/>
            <a:chExt cx="2125662" cy="2165350"/>
          </a:xfrm>
        </p:grpSpPr>
        <p:sp>
          <p:nvSpPr>
            <p:cNvPr id="3" name="Freeform 106">
              <a:extLst>
                <a:ext uri="{FF2B5EF4-FFF2-40B4-BE49-F238E27FC236}">
                  <a16:creationId xmlns:a16="http://schemas.microsoft.com/office/drawing/2014/main" id="{D381FC03-C0B9-264D-88F6-4F951F84B3D8}"/>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reeform 107">
              <a:extLst>
                <a:ext uri="{FF2B5EF4-FFF2-40B4-BE49-F238E27FC236}">
                  <a16:creationId xmlns:a16="http://schemas.microsoft.com/office/drawing/2014/main" id="{173BD47F-AB7F-DF89-7D23-1697E2C93DEE}"/>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Rectangle 108">
              <a:extLst>
                <a:ext uri="{FF2B5EF4-FFF2-40B4-BE49-F238E27FC236}">
                  <a16:creationId xmlns:a16="http://schemas.microsoft.com/office/drawing/2014/main" id="{1D3CD3E4-7404-CD56-721F-CB54C59C46ED}"/>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7" name="Rectangle 109">
              <a:extLst>
                <a:ext uri="{FF2B5EF4-FFF2-40B4-BE49-F238E27FC236}">
                  <a16:creationId xmlns:a16="http://schemas.microsoft.com/office/drawing/2014/main" id="{5BCEE38C-26C1-7C67-AEE2-D63084847051}"/>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8" name="Rectangle 110">
              <a:extLst>
                <a:ext uri="{FF2B5EF4-FFF2-40B4-BE49-F238E27FC236}">
                  <a16:creationId xmlns:a16="http://schemas.microsoft.com/office/drawing/2014/main" id="{6A9EBB1C-BF3D-11F2-0BCC-ADE155C09D77}"/>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9" name="Rectangle 111">
              <a:extLst>
                <a:ext uri="{FF2B5EF4-FFF2-40B4-BE49-F238E27FC236}">
                  <a16:creationId xmlns:a16="http://schemas.microsoft.com/office/drawing/2014/main" id="{53016545-7D35-79D5-3C40-DC39621CF851}"/>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0" name="Rectangle 112">
              <a:extLst>
                <a:ext uri="{FF2B5EF4-FFF2-40B4-BE49-F238E27FC236}">
                  <a16:creationId xmlns:a16="http://schemas.microsoft.com/office/drawing/2014/main" id="{40137B53-B893-5004-31B9-9FEEF630181B}"/>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1" name="Line 113">
              <a:extLst>
                <a:ext uri="{FF2B5EF4-FFF2-40B4-BE49-F238E27FC236}">
                  <a16:creationId xmlns:a16="http://schemas.microsoft.com/office/drawing/2014/main" id="{1FDA8B31-65F5-ED4A-4287-54C7A791ADA1}"/>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2" name="Freeform 114">
              <a:extLst>
                <a:ext uri="{FF2B5EF4-FFF2-40B4-BE49-F238E27FC236}">
                  <a16:creationId xmlns:a16="http://schemas.microsoft.com/office/drawing/2014/main" id="{A0FA9222-FCD8-F0B6-375B-4F38A9F5B6F3}"/>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 name="Freeform 115">
              <a:extLst>
                <a:ext uri="{FF2B5EF4-FFF2-40B4-BE49-F238E27FC236}">
                  <a16:creationId xmlns:a16="http://schemas.microsoft.com/office/drawing/2014/main" id="{997942D2-C5F6-945E-FB1F-E6B2550CCE0F}"/>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 name="Freeform 116">
              <a:extLst>
                <a:ext uri="{FF2B5EF4-FFF2-40B4-BE49-F238E27FC236}">
                  <a16:creationId xmlns:a16="http://schemas.microsoft.com/office/drawing/2014/main" id="{69E6E292-4567-AF5D-F7EA-90265D5EB0F4}"/>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 name="Rectangle 117">
              <a:extLst>
                <a:ext uri="{FF2B5EF4-FFF2-40B4-BE49-F238E27FC236}">
                  <a16:creationId xmlns:a16="http://schemas.microsoft.com/office/drawing/2014/main" id="{AEDEAD64-90A9-A67C-EB6B-2D9781C6AF63}"/>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6" name="Rectangle 118">
              <a:extLst>
                <a:ext uri="{FF2B5EF4-FFF2-40B4-BE49-F238E27FC236}">
                  <a16:creationId xmlns:a16="http://schemas.microsoft.com/office/drawing/2014/main" id="{306CDC9C-5D27-BF65-7F59-2AC44AF443E8}"/>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 name="Freeform 119">
              <a:extLst>
                <a:ext uri="{FF2B5EF4-FFF2-40B4-BE49-F238E27FC236}">
                  <a16:creationId xmlns:a16="http://schemas.microsoft.com/office/drawing/2014/main" id="{0D33EDD2-0695-32F0-C04D-1D6AEC9CEB2B}"/>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 name="Freeform 120">
              <a:extLst>
                <a:ext uri="{FF2B5EF4-FFF2-40B4-BE49-F238E27FC236}">
                  <a16:creationId xmlns:a16="http://schemas.microsoft.com/office/drawing/2014/main" id="{59B25012-71BE-F1FB-8DB3-9E027527FE52}"/>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 name="Rectangle 121">
              <a:extLst>
                <a:ext uri="{FF2B5EF4-FFF2-40B4-BE49-F238E27FC236}">
                  <a16:creationId xmlns:a16="http://schemas.microsoft.com/office/drawing/2014/main" id="{8A86F4DF-A2E3-52CF-E695-827B0C46711C}"/>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20" name="Rectangle 122">
              <a:extLst>
                <a:ext uri="{FF2B5EF4-FFF2-40B4-BE49-F238E27FC236}">
                  <a16:creationId xmlns:a16="http://schemas.microsoft.com/office/drawing/2014/main" id="{4C971266-FE2A-5D1B-7B10-C4A84F4ECCC6}"/>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21" name="Freeform 123">
              <a:extLst>
                <a:ext uri="{FF2B5EF4-FFF2-40B4-BE49-F238E27FC236}">
                  <a16:creationId xmlns:a16="http://schemas.microsoft.com/office/drawing/2014/main" id="{91DD065B-62A9-FAFF-6B8E-1BB637642DE5}"/>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2" name="Freeform 124">
              <a:extLst>
                <a:ext uri="{FF2B5EF4-FFF2-40B4-BE49-F238E27FC236}">
                  <a16:creationId xmlns:a16="http://schemas.microsoft.com/office/drawing/2014/main" id="{4EEBFF29-2A80-A227-34C1-371DBCA9B755}"/>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3" name="Freeform 125">
              <a:extLst>
                <a:ext uri="{FF2B5EF4-FFF2-40B4-BE49-F238E27FC236}">
                  <a16:creationId xmlns:a16="http://schemas.microsoft.com/office/drawing/2014/main" id="{D25EA62B-C035-11CF-8C14-BF25F8A903BB}"/>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4" name="Freeform 126">
              <a:extLst>
                <a:ext uri="{FF2B5EF4-FFF2-40B4-BE49-F238E27FC236}">
                  <a16:creationId xmlns:a16="http://schemas.microsoft.com/office/drawing/2014/main" id="{A8311E26-8BC5-4E1E-213D-C77FC2CE6C60}"/>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5" name="Rectangle 127">
              <a:extLst>
                <a:ext uri="{FF2B5EF4-FFF2-40B4-BE49-F238E27FC236}">
                  <a16:creationId xmlns:a16="http://schemas.microsoft.com/office/drawing/2014/main" id="{21CE2136-C78B-0D5D-F2B7-CFE22AB3591F}"/>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p:grpSp>
        <p:nvGrpSpPr>
          <p:cNvPr id="26" name="Group 25">
            <a:extLst>
              <a:ext uri="{FF2B5EF4-FFF2-40B4-BE49-F238E27FC236}">
                <a16:creationId xmlns:a16="http://schemas.microsoft.com/office/drawing/2014/main" id="{441633BF-54B0-5EBF-B75C-49A95BB927AC}"/>
              </a:ext>
            </a:extLst>
          </p:cNvPr>
          <p:cNvGrpSpPr/>
          <p:nvPr/>
        </p:nvGrpSpPr>
        <p:grpSpPr>
          <a:xfrm>
            <a:off x="1414076" y="1082675"/>
            <a:ext cx="3167062" cy="3983038"/>
            <a:chOff x="1412875" y="1082675"/>
            <a:chExt cx="3167062" cy="3983038"/>
          </a:xfrm>
        </p:grpSpPr>
        <p:sp>
          <p:nvSpPr>
            <p:cNvPr id="27" name="Freeform 9">
              <a:extLst>
                <a:ext uri="{FF2B5EF4-FFF2-40B4-BE49-F238E27FC236}">
                  <a16:creationId xmlns:a16="http://schemas.microsoft.com/office/drawing/2014/main" id="{6CA3CFB1-5371-8158-EB85-FD325AFB7C22}"/>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 name="Freeform 10">
              <a:extLst>
                <a:ext uri="{FF2B5EF4-FFF2-40B4-BE49-F238E27FC236}">
                  <a16:creationId xmlns:a16="http://schemas.microsoft.com/office/drawing/2014/main" id="{DCE68868-1F2A-9E4D-B528-65E3489212F1}"/>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 name="Rectangle 11">
              <a:extLst>
                <a:ext uri="{FF2B5EF4-FFF2-40B4-BE49-F238E27FC236}">
                  <a16:creationId xmlns:a16="http://schemas.microsoft.com/office/drawing/2014/main" id="{131F53FF-1A9D-DDFB-0BEC-5513A1AEA888}"/>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30" name="Rectangle 12">
              <a:extLst>
                <a:ext uri="{FF2B5EF4-FFF2-40B4-BE49-F238E27FC236}">
                  <a16:creationId xmlns:a16="http://schemas.microsoft.com/office/drawing/2014/main" id="{EC930B66-9400-0B8E-B401-76A24B51E856}"/>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1" name="Freeform 17">
              <a:extLst>
                <a:ext uri="{FF2B5EF4-FFF2-40B4-BE49-F238E27FC236}">
                  <a16:creationId xmlns:a16="http://schemas.microsoft.com/office/drawing/2014/main" id="{F31CF1BB-36B0-20FB-4D18-22F51DBC5336}"/>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 name="Freeform 18">
              <a:extLst>
                <a:ext uri="{FF2B5EF4-FFF2-40B4-BE49-F238E27FC236}">
                  <a16:creationId xmlns:a16="http://schemas.microsoft.com/office/drawing/2014/main" id="{2C0015B9-09C1-C209-FA27-6671711AD9D3}"/>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3" name="Rectangle 19">
              <a:extLst>
                <a:ext uri="{FF2B5EF4-FFF2-40B4-BE49-F238E27FC236}">
                  <a16:creationId xmlns:a16="http://schemas.microsoft.com/office/drawing/2014/main" id="{25EE5544-F0E9-D015-E5AA-AAAF3A0CB415}"/>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4" name="Freeform 20">
              <a:extLst>
                <a:ext uri="{FF2B5EF4-FFF2-40B4-BE49-F238E27FC236}">
                  <a16:creationId xmlns:a16="http://schemas.microsoft.com/office/drawing/2014/main" id="{5BD97D90-9B82-9FBD-9F5A-323C3AB0D09C}"/>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5" name="Freeform 21">
              <a:extLst>
                <a:ext uri="{FF2B5EF4-FFF2-40B4-BE49-F238E27FC236}">
                  <a16:creationId xmlns:a16="http://schemas.microsoft.com/office/drawing/2014/main" id="{E1DEEB77-499D-8800-D47C-5475B37093AB}"/>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6" name="Freeform 25">
              <a:extLst>
                <a:ext uri="{FF2B5EF4-FFF2-40B4-BE49-F238E27FC236}">
                  <a16:creationId xmlns:a16="http://schemas.microsoft.com/office/drawing/2014/main" id="{EEE71784-7D03-F11D-BC24-B1EB8F251284}"/>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7" name="Freeform 26">
              <a:extLst>
                <a:ext uri="{FF2B5EF4-FFF2-40B4-BE49-F238E27FC236}">
                  <a16:creationId xmlns:a16="http://schemas.microsoft.com/office/drawing/2014/main" id="{FD9A7A6E-5102-8992-2EB7-BA475F80D2EC}"/>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 name="Freeform 27">
              <a:extLst>
                <a:ext uri="{FF2B5EF4-FFF2-40B4-BE49-F238E27FC236}">
                  <a16:creationId xmlns:a16="http://schemas.microsoft.com/office/drawing/2014/main" id="{718FD6F7-1856-A128-7BEA-4D016C3A20BF}"/>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 name="Freeform 28">
              <a:extLst>
                <a:ext uri="{FF2B5EF4-FFF2-40B4-BE49-F238E27FC236}">
                  <a16:creationId xmlns:a16="http://schemas.microsoft.com/office/drawing/2014/main" id="{0A0B783A-2F5B-F82F-FFB2-781D7F49A44F}"/>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Rectangle 29">
              <a:extLst>
                <a:ext uri="{FF2B5EF4-FFF2-40B4-BE49-F238E27FC236}">
                  <a16:creationId xmlns:a16="http://schemas.microsoft.com/office/drawing/2014/main" id="{6503499F-C5E8-85D8-B7AB-D0D5DF3D0D44}"/>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 name="Line 42">
              <a:extLst>
                <a:ext uri="{FF2B5EF4-FFF2-40B4-BE49-F238E27FC236}">
                  <a16:creationId xmlns:a16="http://schemas.microsoft.com/office/drawing/2014/main" id="{1A18396D-904C-E524-991E-E2512ADEE98D}"/>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 name="Freeform 43">
              <a:extLst>
                <a:ext uri="{FF2B5EF4-FFF2-40B4-BE49-F238E27FC236}">
                  <a16:creationId xmlns:a16="http://schemas.microsoft.com/office/drawing/2014/main" id="{E14B5392-1A5A-9F70-1A3C-CCDE9CED0587}"/>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 name="Freeform 44">
              <a:extLst>
                <a:ext uri="{FF2B5EF4-FFF2-40B4-BE49-F238E27FC236}">
                  <a16:creationId xmlns:a16="http://schemas.microsoft.com/office/drawing/2014/main" id="{DBBCAA4E-297C-F9C4-63C3-654B27EAB80F}"/>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 name="Freeform 45">
              <a:extLst>
                <a:ext uri="{FF2B5EF4-FFF2-40B4-BE49-F238E27FC236}">
                  <a16:creationId xmlns:a16="http://schemas.microsoft.com/office/drawing/2014/main" id="{9C8C9901-0D22-07CF-80EA-AAE315BBB565}"/>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 name="Rectangle 46">
              <a:extLst>
                <a:ext uri="{FF2B5EF4-FFF2-40B4-BE49-F238E27FC236}">
                  <a16:creationId xmlns:a16="http://schemas.microsoft.com/office/drawing/2014/main" id="{867C19FB-7C36-C0F8-DA5D-5D0502ECCD8B}"/>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 name="Rectangle 47">
              <a:extLst>
                <a:ext uri="{FF2B5EF4-FFF2-40B4-BE49-F238E27FC236}">
                  <a16:creationId xmlns:a16="http://schemas.microsoft.com/office/drawing/2014/main" id="{0223F266-DC51-1BE3-12FD-2924EE205413}"/>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 name="Freeform 48">
              <a:extLst>
                <a:ext uri="{FF2B5EF4-FFF2-40B4-BE49-F238E27FC236}">
                  <a16:creationId xmlns:a16="http://schemas.microsoft.com/office/drawing/2014/main" id="{505F00D3-4487-66F8-1A67-603F3C9D11B4}"/>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 name="Freeform 49">
              <a:extLst>
                <a:ext uri="{FF2B5EF4-FFF2-40B4-BE49-F238E27FC236}">
                  <a16:creationId xmlns:a16="http://schemas.microsoft.com/office/drawing/2014/main" id="{B0350D66-C7BF-C587-6006-4EBFC577D49A}"/>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 name="Freeform 50">
              <a:extLst>
                <a:ext uri="{FF2B5EF4-FFF2-40B4-BE49-F238E27FC236}">
                  <a16:creationId xmlns:a16="http://schemas.microsoft.com/office/drawing/2014/main" id="{EC6B84F9-9C21-0536-A3CB-B24A80394210}"/>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 name="Freeform 51">
              <a:extLst>
                <a:ext uri="{FF2B5EF4-FFF2-40B4-BE49-F238E27FC236}">
                  <a16:creationId xmlns:a16="http://schemas.microsoft.com/office/drawing/2014/main" id="{00F1233B-AFF4-8199-B6FE-A0B93464EB75}"/>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1" name="Rectangle 52">
              <a:extLst>
                <a:ext uri="{FF2B5EF4-FFF2-40B4-BE49-F238E27FC236}">
                  <a16:creationId xmlns:a16="http://schemas.microsoft.com/office/drawing/2014/main" id="{FC661DB0-5CF8-5D03-9225-BEB2994972B3}"/>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2" name="Freeform 53">
              <a:extLst>
                <a:ext uri="{FF2B5EF4-FFF2-40B4-BE49-F238E27FC236}">
                  <a16:creationId xmlns:a16="http://schemas.microsoft.com/office/drawing/2014/main" id="{9F5F3E7A-9A43-0A2C-F013-F7018FDEE2CD}"/>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3" name="Freeform 54">
              <a:extLst>
                <a:ext uri="{FF2B5EF4-FFF2-40B4-BE49-F238E27FC236}">
                  <a16:creationId xmlns:a16="http://schemas.microsoft.com/office/drawing/2014/main" id="{A449DED2-AB8E-536C-E1BF-B10723F12577}"/>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4" name="Rectangle 55">
              <a:extLst>
                <a:ext uri="{FF2B5EF4-FFF2-40B4-BE49-F238E27FC236}">
                  <a16:creationId xmlns:a16="http://schemas.microsoft.com/office/drawing/2014/main" id="{D9B5EB04-8E67-5028-C52B-9BCD7F1B6114}"/>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5" name="Rectangle 56">
              <a:extLst>
                <a:ext uri="{FF2B5EF4-FFF2-40B4-BE49-F238E27FC236}">
                  <a16:creationId xmlns:a16="http://schemas.microsoft.com/office/drawing/2014/main" id="{38726351-0C91-C910-2EFB-3C2D63D04B83}"/>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6" name="Freeform 73">
              <a:extLst>
                <a:ext uri="{FF2B5EF4-FFF2-40B4-BE49-F238E27FC236}">
                  <a16:creationId xmlns:a16="http://schemas.microsoft.com/office/drawing/2014/main" id="{E81EE411-13C4-80E4-BBC0-4191B0A25B84}"/>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74">
              <a:extLst>
                <a:ext uri="{FF2B5EF4-FFF2-40B4-BE49-F238E27FC236}">
                  <a16:creationId xmlns:a16="http://schemas.microsoft.com/office/drawing/2014/main" id="{031E5E44-238B-1F67-39C6-4935412587BC}"/>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8" name="Freeform 75">
              <a:extLst>
                <a:ext uri="{FF2B5EF4-FFF2-40B4-BE49-F238E27FC236}">
                  <a16:creationId xmlns:a16="http://schemas.microsoft.com/office/drawing/2014/main" id="{6E2DFA65-3B07-0F09-BC0B-E106F5DF0070}"/>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76">
              <a:extLst>
                <a:ext uri="{FF2B5EF4-FFF2-40B4-BE49-F238E27FC236}">
                  <a16:creationId xmlns:a16="http://schemas.microsoft.com/office/drawing/2014/main" id="{C1AB9642-010B-9609-54A6-DE159B86FA5D}"/>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0" name="Rectangle 77">
              <a:extLst>
                <a:ext uri="{FF2B5EF4-FFF2-40B4-BE49-F238E27FC236}">
                  <a16:creationId xmlns:a16="http://schemas.microsoft.com/office/drawing/2014/main" id="{AC25F91B-AC4B-1894-B198-05CF198D6D50}"/>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61" name="Rectangle 78">
              <a:extLst>
                <a:ext uri="{FF2B5EF4-FFF2-40B4-BE49-F238E27FC236}">
                  <a16:creationId xmlns:a16="http://schemas.microsoft.com/office/drawing/2014/main" id="{8C8DA9E6-43CB-9BA7-6554-B163D3D7143F}"/>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62" name="Freeform 79">
              <a:extLst>
                <a:ext uri="{FF2B5EF4-FFF2-40B4-BE49-F238E27FC236}">
                  <a16:creationId xmlns:a16="http://schemas.microsoft.com/office/drawing/2014/main" id="{0E71FBB4-A92C-D5B0-488B-ADC7DE8604AA}"/>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3" name="Freeform 80">
              <a:extLst>
                <a:ext uri="{FF2B5EF4-FFF2-40B4-BE49-F238E27FC236}">
                  <a16:creationId xmlns:a16="http://schemas.microsoft.com/office/drawing/2014/main" id="{1A1C69C1-785D-CDC1-18B1-56B497925940}"/>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7A006697-7754-9AA9-18FE-F47739A49BD5}"/>
              </a:ext>
            </a:extLst>
          </p:cNvPr>
          <p:cNvGrpSpPr/>
          <p:nvPr/>
        </p:nvGrpSpPr>
        <p:grpSpPr>
          <a:xfrm>
            <a:off x="5273350" y="1082675"/>
            <a:ext cx="3695700" cy="4211638"/>
            <a:chOff x="5272088" y="1082675"/>
            <a:chExt cx="3695700" cy="4211638"/>
          </a:xfrm>
        </p:grpSpPr>
        <p:sp>
          <p:nvSpPr>
            <p:cNvPr id="129" name="Freeform 22">
              <a:extLst>
                <a:ext uri="{FF2B5EF4-FFF2-40B4-BE49-F238E27FC236}">
                  <a16:creationId xmlns:a16="http://schemas.microsoft.com/office/drawing/2014/main" id="{E2A7A33D-7E87-DCD8-B35E-1B3FED560302}"/>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0" name="Freeform 23">
              <a:extLst>
                <a:ext uri="{FF2B5EF4-FFF2-40B4-BE49-F238E27FC236}">
                  <a16:creationId xmlns:a16="http://schemas.microsoft.com/office/drawing/2014/main" id="{67EE7117-9379-7106-18E4-B9E8DC4C47C2}"/>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1" name="Rectangle 24">
              <a:extLst>
                <a:ext uri="{FF2B5EF4-FFF2-40B4-BE49-F238E27FC236}">
                  <a16:creationId xmlns:a16="http://schemas.microsoft.com/office/drawing/2014/main" id="{7721039F-FA73-7C6A-415F-B93226B4EBD9}"/>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32" name="Freeform 35">
              <a:extLst>
                <a:ext uri="{FF2B5EF4-FFF2-40B4-BE49-F238E27FC236}">
                  <a16:creationId xmlns:a16="http://schemas.microsoft.com/office/drawing/2014/main" id="{5B8E5379-CF2E-47DB-C31F-8C48CCA375F4}"/>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3" name="Freeform 36">
              <a:extLst>
                <a:ext uri="{FF2B5EF4-FFF2-40B4-BE49-F238E27FC236}">
                  <a16:creationId xmlns:a16="http://schemas.microsoft.com/office/drawing/2014/main" id="{382C5AF4-1F0D-1581-F5A9-3C80490C1937}"/>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4" name="Freeform 37">
              <a:extLst>
                <a:ext uri="{FF2B5EF4-FFF2-40B4-BE49-F238E27FC236}">
                  <a16:creationId xmlns:a16="http://schemas.microsoft.com/office/drawing/2014/main" id="{171FF2F6-B5A0-314A-1CBB-402CB2D4DD44}"/>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5" name="Freeform 38">
              <a:extLst>
                <a:ext uri="{FF2B5EF4-FFF2-40B4-BE49-F238E27FC236}">
                  <a16:creationId xmlns:a16="http://schemas.microsoft.com/office/drawing/2014/main" id="{1838C760-7F57-9A76-2C14-246246A01783}"/>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6" name="Rectangle 39">
              <a:extLst>
                <a:ext uri="{FF2B5EF4-FFF2-40B4-BE49-F238E27FC236}">
                  <a16:creationId xmlns:a16="http://schemas.microsoft.com/office/drawing/2014/main" id="{653EA436-1459-2732-4A65-64CF005338D5}"/>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37" name="Line 40">
              <a:extLst>
                <a:ext uri="{FF2B5EF4-FFF2-40B4-BE49-F238E27FC236}">
                  <a16:creationId xmlns:a16="http://schemas.microsoft.com/office/drawing/2014/main" id="{F4705932-89BC-9616-E6DE-8A2475FFD0BE}"/>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8" name="Freeform 41">
              <a:extLst>
                <a:ext uri="{FF2B5EF4-FFF2-40B4-BE49-F238E27FC236}">
                  <a16:creationId xmlns:a16="http://schemas.microsoft.com/office/drawing/2014/main" id="{F1B7BF87-A30E-7C57-2715-D705B82E277E}"/>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9" name="Freeform 69">
              <a:extLst>
                <a:ext uri="{FF2B5EF4-FFF2-40B4-BE49-F238E27FC236}">
                  <a16:creationId xmlns:a16="http://schemas.microsoft.com/office/drawing/2014/main" id="{A6923BDD-DB5F-5375-CEF6-3EA79AEDDC9D}"/>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70">
              <a:extLst>
                <a:ext uri="{FF2B5EF4-FFF2-40B4-BE49-F238E27FC236}">
                  <a16:creationId xmlns:a16="http://schemas.microsoft.com/office/drawing/2014/main" id="{5419A7AF-0CEB-2B4C-0993-4D1AFCA27C45}"/>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Rectangle 71">
              <a:extLst>
                <a:ext uri="{FF2B5EF4-FFF2-40B4-BE49-F238E27FC236}">
                  <a16:creationId xmlns:a16="http://schemas.microsoft.com/office/drawing/2014/main" id="{055AFA83-AF2A-ED4C-F49A-E6298A89C6DB}"/>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2" name="Rectangle 72">
              <a:extLst>
                <a:ext uri="{FF2B5EF4-FFF2-40B4-BE49-F238E27FC236}">
                  <a16:creationId xmlns:a16="http://schemas.microsoft.com/office/drawing/2014/main" id="{C484398F-FF03-0FFC-DC0D-3D3D20F23480}"/>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43" name="Freeform 94">
              <a:extLst>
                <a:ext uri="{FF2B5EF4-FFF2-40B4-BE49-F238E27FC236}">
                  <a16:creationId xmlns:a16="http://schemas.microsoft.com/office/drawing/2014/main" id="{63518F49-DDE1-1497-D6FE-677527916030}"/>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7" name="Freeform 95">
              <a:extLst>
                <a:ext uri="{FF2B5EF4-FFF2-40B4-BE49-F238E27FC236}">
                  <a16:creationId xmlns:a16="http://schemas.microsoft.com/office/drawing/2014/main" id="{CAF5964D-AC0A-AF4D-0ECF-B732F1909436}"/>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8" name="Freeform 96">
              <a:extLst>
                <a:ext uri="{FF2B5EF4-FFF2-40B4-BE49-F238E27FC236}">
                  <a16:creationId xmlns:a16="http://schemas.microsoft.com/office/drawing/2014/main" id="{3CA7BACB-72D3-5DE5-FF33-8FBABEED56C9}"/>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9" name="Freeform 97">
              <a:extLst>
                <a:ext uri="{FF2B5EF4-FFF2-40B4-BE49-F238E27FC236}">
                  <a16:creationId xmlns:a16="http://schemas.microsoft.com/office/drawing/2014/main" id="{DAF0C296-3D2F-EF63-B00C-E2175D239E84}"/>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0" name="Rectangle 98">
              <a:extLst>
                <a:ext uri="{FF2B5EF4-FFF2-40B4-BE49-F238E27FC236}">
                  <a16:creationId xmlns:a16="http://schemas.microsoft.com/office/drawing/2014/main" id="{BC74AE68-8F68-8FEA-D01C-A61373D01856}"/>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1" name="Freeform 99">
              <a:extLst>
                <a:ext uri="{FF2B5EF4-FFF2-40B4-BE49-F238E27FC236}">
                  <a16:creationId xmlns:a16="http://schemas.microsoft.com/office/drawing/2014/main" id="{AE38ACC6-B556-1A1C-4BE8-2837D58D1CD5}"/>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100">
              <a:extLst>
                <a:ext uri="{FF2B5EF4-FFF2-40B4-BE49-F238E27FC236}">
                  <a16:creationId xmlns:a16="http://schemas.microsoft.com/office/drawing/2014/main" id="{D3A41E39-2ADA-B077-CEA9-DC8A4939E3A8}"/>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3" name="Freeform 101">
              <a:extLst>
                <a:ext uri="{FF2B5EF4-FFF2-40B4-BE49-F238E27FC236}">
                  <a16:creationId xmlns:a16="http://schemas.microsoft.com/office/drawing/2014/main" id="{81D63495-2EC4-7ED7-59AC-75B643285457}"/>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4" name="Freeform 102">
              <a:extLst>
                <a:ext uri="{FF2B5EF4-FFF2-40B4-BE49-F238E27FC236}">
                  <a16:creationId xmlns:a16="http://schemas.microsoft.com/office/drawing/2014/main" id="{17FC82C6-ECD2-5C2A-5EB8-A3BC22DF6F85}"/>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5" name="Rectangle 103">
              <a:extLst>
                <a:ext uri="{FF2B5EF4-FFF2-40B4-BE49-F238E27FC236}">
                  <a16:creationId xmlns:a16="http://schemas.microsoft.com/office/drawing/2014/main" id="{4C58B583-7F91-3822-2629-28AAA25C142A}"/>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6" name="Freeform 104">
              <a:extLst>
                <a:ext uri="{FF2B5EF4-FFF2-40B4-BE49-F238E27FC236}">
                  <a16:creationId xmlns:a16="http://schemas.microsoft.com/office/drawing/2014/main" id="{DA32F92A-54C8-F896-6D48-A4121C5A8E06}"/>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105">
              <a:extLst>
                <a:ext uri="{FF2B5EF4-FFF2-40B4-BE49-F238E27FC236}">
                  <a16:creationId xmlns:a16="http://schemas.microsoft.com/office/drawing/2014/main" id="{96F9597C-E684-F97C-7614-C6244A5E872B}"/>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76" name="Group 175">
            <a:extLst>
              <a:ext uri="{FF2B5EF4-FFF2-40B4-BE49-F238E27FC236}">
                <a16:creationId xmlns:a16="http://schemas.microsoft.com/office/drawing/2014/main" id="{DB06B164-2329-F6AB-01C3-5542DA06EEC1}"/>
              </a:ext>
            </a:extLst>
          </p:cNvPr>
          <p:cNvGrpSpPr/>
          <p:nvPr/>
        </p:nvGrpSpPr>
        <p:grpSpPr>
          <a:xfrm>
            <a:off x="7996238" y="1730375"/>
            <a:ext cx="3502024" cy="754063"/>
            <a:chOff x="7996238" y="1730375"/>
            <a:chExt cx="3502024" cy="754063"/>
          </a:xfrm>
        </p:grpSpPr>
        <p:sp>
          <p:nvSpPr>
            <p:cNvPr id="177" name="Freeform 30">
              <a:extLst>
                <a:ext uri="{FF2B5EF4-FFF2-40B4-BE49-F238E27FC236}">
                  <a16:creationId xmlns:a16="http://schemas.microsoft.com/office/drawing/2014/main" id="{7D816FE9-8091-28A4-18A5-80E4D59A13A1}"/>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8" name="Freeform 31">
              <a:extLst>
                <a:ext uri="{FF2B5EF4-FFF2-40B4-BE49-F238E27FC236}">
                  <a16:creationId xmlns:a16="http://schemas.microsoft.com/office/drawing/2014/main" id="{75399EE0-DFC9-EBA8-464E-F6CE6491C503}"/>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9" name="Freeform 32">
              <a:extLst>
                <a:ext uri="{FF2B5EF4-FFF2-40B4-BE49-F238E27FC236}">
                  <a16:creationId xmlns:a16="http://schemas.microsoft.com/office/drawing/2014/main" id="{05A3CBF2-FBCE-A19F-5CE8-7C46F8F1B623}"/>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0" name="Freeform 33">
              <a:extLst>
                <a:ext uri="{FF2B5EF4-FFF2-40B4-BE49-F238E27FC236}">
                  <a16:creationId xmlns:a16="http://schemas.microsoft.com/office/drawing/2014/main" id="{145EEB0B-1712-BD31-7C3E-6BD37639B78C}"/>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1" name="Rectangle 34">
              <a:extLst>
                <a:ext uri="{FF2B5EF4-FFF2-40B4-BE49-F238E27FC236}">
                  <a16:creationId xmlns:a16="http://schemas.microsoft.com/office/drawing/2014/main" id="{78D38EF5-F81D-6768-1927-22332012CF7E}"/>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2" name="Freeform 81">
              <a:extLst>
                <a:ext uri="{FF2B5EF4-FFF2-40B4-BE49-F238E27FC236}">
                  <a16:creationId xmlns:a16="http://schemas.microsoft.com/office/drawing/2014/main" id="{26E7E2BF-E70F-F04B-72F6-2238380B3B83}"/>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3" name="Freeform 82">
              <a:extLst>
                <a:ext uri="{FF2B5EF4-FFF2-40B4-BE49-F238E27FC236}">
                  <a16:creationId xmlns:a16="http://schemas.microsoft.com/office/drawing/2014/main" id="{8DFA6EE4-F8B1-EB0D-E987-EE193E4F4B02}"/>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4" name="Rectangle 83">
              <a:extLst>
                <a:ext uri="{FF2B5EF4-FFF2-40B4-BE49-F238E27FC236}">
                  <a16:creationId xmlns:a16="http://schemas.microsoft.com/office/drawing/2014/main" id="{40F74EDD-5A92-8295-D8A5-8795EDC4722E}"/>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5" name="Freeform 84">
              <a:extLst>
                <a:ext uri="{FF2B5EF4-FFF2-40B4-BE49-F238E27FC236}">
                  <a16:creationId xmlns:a16="http://schemas.microsoft.com/office/drawing/2014/main" id="{30BB58B1-A2CE-3C76-550F-F2FD4F18BE2E}"/>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6" name="Freeform 85">
              <a:extLst>
                <a:ext uri="{FF2B5EF4-FFF2-40B4-BE49-F238E27FC236}">
                  <a16:creationId xmlns:a16="http://schemas.microsoft.com/office/drawing/2014/main" id="{1FD2E70E-F52A-9C44-5842-5C93B0115D9D}"/>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7" name="Rectangle 86">
              <a:extLst>
                <a:ext uri="{FF2B5EF4-FFF2-40B4-BE49-F238E27FC236}">
                  <a16:creationId xmlns:a16="http://schemas.microsoft.com/office/drawing/2014/main" id="{F4DC481A-7165-E792-A8F9-D795ED3E4D1F}"/>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88" name="Freeform 87">
              <a:extLst>
                <a:ext uri="{FF2B5EF4-FFF2-40B4-BE49-F238E27FC236}">
                  <a16:creationId xmlns:a16="http://schemas.microsoft.com/office/drawing/2014/main" id="{096B31E0-A9F4-2FB2-655C-233C6417D973}"/>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89" name="Freeform 88">
              <a:extLst>
                <a:ext uri="{FF2B5EF4-FFF2-40B4-BE49-F238E27FC236}">
                  <a16:creationId xmlns:a16="http://schemas.microsoft.com/office/drawing/2014/main" id="{2E9907C9-B89A-564E-9F8F-3119B8E2BCA7}"/>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0" name="Rectangle 89">
              <a:extLst>
                <a:ext uri="{FF2B5EF4-FFF2-40B4-BE49-F238E27FC236}">
                  <a16:creationId xmlns:a16="http://schemas.microsoft.com/office/drawing/2014/main" id="{F41AB0C7-3D9B-4F0F-BC88-8350B4C14324}"/>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1" name="Rectangle 90">
              <a:extLst>
                <a:ext uri="{FF2B5EF4-FFF2-40B4-BE49-F238E27FC236}">
                  <a16:creationId xmlns:a16="http://schemas.microsoft.com/office/drawing/2014/main" id="{5E15DF0E-EE99-020A-897F-4319BC6A77DE}"/>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2" name="Rectangle 91">
              <a:extLst>
                <a:ext uri="{FF2B5EF4-FFF2-40B4-BE49-F238E27FC236}">
                  <a16:creationId xmlns:a16="http://schemas.microsoft.com/office/drawing/2014/main" id="{52A7E22C-6F92-4B0E-55E3-DA1E4AB70313}"/>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93" name="Freeform 92">
              <a:extLst>
                <a:ext uri="{FF2B5EF4-FFF2-40B4-BE49-F238E27FC236}">
                  <a16:creationId xmlns:a16="http://schemas.microsoft.com/office/drawing/2014/main" id="{7186F98D-E30B-EEFC-9A36-7FDC5A73855C}"/>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4" name="Freeform 93">
              <a:extLst>
                <a:ext uri="{FF2B5EF4-FFF2-40B4-BE49-F238E27FC236}">
                  <a16:creationId xmlns:a16="http://schemas.microsoft.com/office/drawing/2014/main" id="{A86D4A44-B314-4417-4EF2-68BC2BA44DA5}"/>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Tree>
    <p:extLst>
      <p:ext uri="{BB962C8B-B14F-4D97-AF65-F5344CB8AC3E}">
        <p14:creationId xmlns:p14="http://schemas.microsoft.com/office/powerpoint/2010/main" val="1258025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up)">
                                      <p:cBhvr>
                                        <p:cTn id="12" dur="20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28"/>
                                        </p:tgtEl>
                                        <p:attrNameLst>
                                          <p:attrName>style.visibility</p:attrName>
                                        </p:attrNameLst>
                                      </p:cBhvr>
                                      <p:to>
                                        <p:strVal val="visible"/>
                                      </p:to>
                                    </p:set>
                                    <p:animEffect transition="in" filter="wipe(up)">
                                      <p:cBhvr>
                                        <p:cTn id="17" dur="2000"/>
                                        <p:tgtEl>
                                          <p:spTgt spid="12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left)">
                                      <p:cBhvr>
                                        <p:cTn id="22" dur="2000"/>
                                        <p:tgtEl>
                                          <p:spTgt spid="15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76"/>
                                        </p:tgtEl>
                                        <p:attrNameLst>
                                          <p:attrName>style.visibility</p:attrName>
                                        </p:attrNameLst>
                                      </p:cBhvr>
                                      <p:to>
                                        <p:strVal val="visible"/>
                                      </p:to>
                                    </p:set>
                                    <p:animEffect transition="in" filter="wipe(left)">
                                      <p:cBhvr>
                                        <p:cTn id="27" dur="2000"/>
                                        <p:tgtEl>
                                          <p:spTgt spid="1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3">
            <a:extLst>
              <a:ext uri="{FF2B5EF4-FFF2-40B4-BE49-F238E27FC236}">
                <a16:creationId xmlns:a16="http://schemas.microsoft.com/office/drawing/2014/main" id="{597B7432-21D3-40FD-A3D1-2A989124DEC7}"/>
              </a:ext>
            </a:extLst>
          </p:cNvPr>
          <p:cNvSpPr>
            <a:spLocks noChangeAspect="1" noChangeArrowheads="1" noTextEdit="1"/>
          </p:cNvSpPr>
          <p:nvPr/>
        </p:nvSpPr>
        <p:spPr bwMode="auto">
          <a:xfrm>
            <a:off x="788988" y="569913"/>
            <a:ext cx="11068050" cy="597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282828"/>
              </a:solidFill>
              <a:effectLst/>
              <a:uLnTx/>
              <a:uFillTx/>
              <a:latin typeface="Segoe UI"/>
              <a:ea typeface="+mn-ea"/>
              <a:cs typeface="+mn-cs"/>
            </a:endParaRPr>
          </a:p>
        </p:txBody>
      </p:sp>
      <p:sp>
        <p:nvSpPr>
          <p:cNvPr id="2" name="TextBox 1">
            <a:extLst>
              <a:ext uri="{FF2B5EF4-FFF2-40B4-BE49-F238E27FC236}">
                <a16:creationId xmlns:a16="http://schemas.microsoft.com/office/drawing/2014/main" id="{897FF6DA-1285-4675-B417-997A635C9B16}"/>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ore </a:t>
            </a:r>
            <a:r>
              <a:rPr lang="en-US" sz="2000" dirty="0">
                <a:solidFill>
                  <a:srgbClr val="FFFFFF"/>
                </a:solidFill>
                <a:latin typeface="Segoe UI"/>
              </a:rPr>
              <a:t>Detail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8" name="Rectangle 5">
            <a:extLst>
              <a:ext uri="{FF2B5EF4-FFF2-40B4-BE49-F238E27FC236}">
                <a16:creationId xmlns:a16="http://schemas.microsoft.com/office/drawing/2014/main" id="{D54E26FA-DE8D-4BDC-9A6B-91C863743990}"/>
              </a:ext>
            </a:extLst>
          </p:cNvPr>
          <p:cNvSpPr>
            <a:spLocks noChangeArrowheads="1"/>
          </p:cNvSpPr>
          <p:nvPr/>
        </p:nvSpPr>
        <p:spPr bwMode="auto">
          <a:xfrm>
            <a:off x="7050088" y="3410744"/>
            <a:ext cx="1309688"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6">
            <a:extLst>
              <a:ext uri="{FF2B5EF4-FFF2-40B4-BE49-F238E27FC236}">
                <a16:creationId xmlns:a16="http://schemas.microsoft.com/office/drawing/2014/main" id="{07126AF1-86FF-411A-8FC1-4F85A2583A44}"/>
              </a:ext>
            </a:extLst>
          </p:cNvPr>
          <p:cNvSpPr>
            <a:spLocks noChangeArrowheads="1"/>
          </p:cNvSpPr>
          <p:nvPr/>
        </p:nvSpPr>
        <p:spPr bwMode="auto">
          <a:xfrm>
            <a:off x="7050088" y="3410744"/>
            <a:ext cx="1309688"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Rectangle 7">
            <a:extLst>
              <a:ext uri="{FF2B5EF4-FFF2-40B4-BE49-F238E27FC236}">
                <a16:creationId xmlns:a16="http://schemas.microsoft.com/office/drawing/2014/main" id="{675E3175-CA50-48D5-80CB-FBA4B23CC600}"/>
              </a:ext>
            </a:extLst>
          </p:cNvPr>
          <p:cNvSpPr>
            <a:spLocks noChangeArrowheads="1"/>
          </p:cNvSpPr>
          <p:nvPr/>
        </p:nvSpPr>
        <p:spPr bwMode="auto">
          <a:xfrm>
            <a:off x="8626476" y="3182144"/>
            <a:ext cx="1311275" cy="18732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Rectangle 8">
            <a:extLst>
              <a:ext uri="{FF2B5EF4-FFF2-40B4-BE49-F238E27FC236}">
                <a16:creationId xmlns:a16="http://schemas.microsoft.com/office/drawing/2014/main" id="{BBFDCC4A-A689-4093-B645-E9E9F9D31835}"/>
              </a:ext>
            </a:extLst>
          </p:cNvPr>
          <p:cNvSpPr>
            <a:spLocks noChangeArrowheads="1"/>
          </p:cNvSpPr>
          <p:nvPr/>
        </p:nvSpPr>
        <p:spPr bwMode="auto">
          <a:xfrm>
            <a:off x="8626476" y="3182144"/>
            <a:ext cx="1311275" cy="187325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Freeform 9">
            <a:extLst>
              <a:ext uri="{FF2B5EF4-FFF2-40B4-BE49-F238E27FC236}">
                <a16:creationId xmlns:a16="http://schemas.microsoft.com/office/drawing/2014/main" id="{E83CDBEB-5298-42B3-B542-0209F6B2C4E6}"/>
              </a:ext>
            </a:extLst>
          </p:cNvPr>
          <p:cNvSpPr>
            <a:spLocks/>
          </p:cNvSpPr>
          <p:nvPr/>
        </p:nvSpPr>
        <p:spPr bwMode="auto">
          <a:xfrm>
            <a:off x="1017588" y="1691481"/>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0">
            <a:extLst>
              <a:ext uri="{FF2B5EF4-FFF2-40B4-BE49-F238E27FC236}">
                <a16:creationId xmlns:a16="http://schemas.microsoft.com/office/drawing/2014/main" id="{75665AE3-3B64-4604-8F65-48F0CC325C04}"/>
              </a:ext>
            </a:extLst>
          </p:cNvPr>
          <p:cNvSpPr>
            <a:spLocks/>
          </p:cNvSpPr>
          <p:nvPr/>
        </p:nvSpPr>
        <p:spPr bwMode="auto">
          <a:xfrm>
            <a:off x="1017588" y="1691481"/>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Rectangle 11">
            <a:extLst>
              <a:ext uri="{FF2B5EF4-FFF2-40B4-BE49-F238E27FC236}">
                <a16:creationId xmlns:a16="http://schemas.microsoft.com/office/drawing/2014/main" id="{32CCEEA0-E8DC-4A7C-8DBC-A2F4F2E58D0F}"/>
              </a:ext>
            </a:extLst>
          </p:cNvPr>
          <p:cNvSpPr>
            <a:spLocks noChangeArrowheads="1"/>
          </p:cNvSpPr>
          <p:nvPr/>
        </p:nvSpPr>
        <p:spPr bwMode="auto">
          <a:xfrm>
            <a:off x="1174751" y="1713706"/>
            <a:ext cx="8143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ata Subjec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12">
            <a:extLst>
              <a:ext uri="{FF2B5EF4-FFF2-40B4-BE49-F238E27FC236}">
                <a16:creationId xmlns:a16="http://schemas.microsoft.com/office/drawing/2014/main" id="{BCB29166-90C5-4AE0-9EDC-A0713241EDAF}"/>
              </a:ext>
            </a:extLst>
          </p:cNvPr>
          <p:cNvSpPr>
            <a:spLocks noChangeArrowheads="1"/>
          </p:cNvSpPr>
          <p:nvPr/>
        </p:nvSpPr>
        <p:spPr bwMode="auto">
          <a:xfrm>
            <a:off x="1265238" y="1866106"/>
            <a:ext cx="5826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ques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0" name="Freeform 17">
            <a:extLst>
              <a:ext uri="{FF2B5EF4-FFF2-40B4-BE49-F238E27FC236}">
                <a16:creationId xmlns:a16="http://schemas.microsoft.com/office/drawing/2014/main" id="{8547A47D-6AB1-490F-8AF1-BFE2424D152F}"/>
              </a:ext>
            </a:extLst>
          </p:cNvPr>
          <p:cNvSpPr>
            <a:spLocks/>
          </p:cNvSpPr>
          <p:nvPr/>
        </p:nvSpPr>
        <p:spPr bwMode="auto">
          <a:xfrm>
            <a:off x="2176463" y="304879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8">
            <a:extLst>
              <a:ext uri="{FF2B5EF4-FFF2-40B4-BE49-F238E27FC236}">
                <a16:creationId xmlns:a16="http://schemas.microsoft.com/office/drawing/2014/main" id="{30EA2718-729C-4631-999C-515F83439E04}"/>
              </a:ext>
            </a:extLst>
          </p:cNvPr>
          <p:cNvSpPr>
            <a:spLocks/>
          </p:cNvSpPr>
          <p:nvPr/>
        </p:nvSpPr>
        <p:spPr bwMode="auto">
          <a:xfrm>
            <a:off x="2176463" y="304879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Rectangle 19">
            <a:extLst>
              <a:ext uri="{FF2B5EF4-FFF2-40B4-BE49-F238E27FC236}">
                <a16:creationId xmlns:a16="http://schemas.microsoft.com/office/drawing/2014/main" id="{B1B6984F-DA8B-4CD2-A54D-2B8D104A3F03}"/>
              </a:ext>
            </a:extLst>
          </p:cNvPr>
          <p:cNvSpPr>
            <a:spLocks noChangeArrowheads="1"/>
          </p:cNvSpPr>
          <p:nvPr/>
        </p:nvSpPr>
        <p:spPr bwMode="auto">
          <a:xfrm>
            <a:off x="2265363" y="3145631"/>
            <a:ext cx="928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earch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3" name="Freeform 20">
            <a:extLst>
              <a:ext uri="{FF2B5EF4-FFF2-40B4-BE49-F238E27FC236}">
                <a16:creationId xmlns:a16="http://schemas.microsoft.com/office/drawing/2014/main" id="{6E6F7A90-07D7-4C51-8847-68861BDE625A}"/>
              </a:ext>
            </a:extLst>
          </p:cNvPr>
          <p:cNvSpPr>
            <a:spLocks/>
          </p:cNvSpPr>
          <p:nvPr/>
        </p:nvSpPr>
        <p:spPr bwMode="auto">
          <a:xfrm>
            <a:off x="1498601" y="2053431"/>
            <a:ext cx="614363" cy="1176338"/>
          </a:xfrm>
          <a:custGeom>
            <a:avLst/>
            <a:gdLst>
              <a:gd name="T0" fmla="*/ 0 w 387"/>
              <a:gd name="T1" fmla="*/ 0 h 741"/>
              <a:gd name="T2" fmla="*/ 0 w 387"/>
              <a:gd name="T3" fmla="*/ 741 h 741"/>
              <a:gd name="T4" fmla="*/ 387 w 387"/>
              <a:gd name="T5" fmla="*/ 741 h 741"/>
            </a:gdLst>
            <a:ahLst/>
            <a:cxnLst>
              <a:cxn ang="0">
                <a:pos x="T0" y="T1"/>
              </a:cxn>
              <a:cxn ang="0">
                <a:pos x="T2" y="T3"/>
              </a:cxn>
              <a:cxn ang="0">
                <a:pos x="T4" y="T5"/>
              </a:cxn>
            </a:cxnLst>
            <a:rect l="0" t="0" r="r" b="b"/>
            <a:pathLst>
              <a:path w="387" h="741">
                <a:moveTo>
                  <a:pt x="0" y="0"/>
                </a:moveTo>
                <a:lnTo>
                  <a:pt x="0" y="741"/>
                </a:lnTo>
                <a:lnTo>
                  <a:pt x="387" y="74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Freeform 21">
            <a:extLst>
              <a:ext uri="{FF2B5EF4-FFF2-40B4-BE49-F238E27FC236}">
                <a16:creationId xmlns:a16="http://schemas.microsoft.com/office/drawing/2014/main" id="{1BB4C6C8-597A-4E6E-B6FD-D50786BF9F63}"/>
              </a:ext>
            </a:extLst>
          </p:cNvPr>
          <p:cNvSpPr>
            <a:spLocks/>
          </p:cNvSpPr>
          <p:nvPr/>
        </p:nvSpPr>
        <p:spPr bwMode="auto">
          <a:xfrm>
            <a:off x="2092326" y="3188494"/>
            <a:ext cx="84138"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7"/>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26">
            <a:extLst>
              <a:ext uri="{FF2B5EF4-FFF2-40B4-BE49-F238E27FC236}">
                <a16:creationId xmlns:a16="http://schemas.microsoft.com/office/drawing/2014/main" id="{2CD42F31-1BAF-4E71-953A-9F82878DDE13}"/>
              </a:ext>
            </a:extLst>
          </p:cNvPr>
          <p:cNvSpPr>
            <a:spLocks/>
          </p:cNvSpPr>
          <p:nvPr/>
        </p:nvSpPr>
        <p:spPr bwMode="auto">
          <a:xfrm>
            <a:off x="6415088" y="1666081"/>
            <a:ext cx="962025"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27">
            <a:extLst>
              <a:ext uri="{FF2B5EF4-FFF2-40B4-BE49-F238E27FC236}">
                <a16:creationId xmlns:a16="http://schemas.microsoft.com/office/drawing/2014/main" id="{91085D19-FE9F-4948-BD0F-08D90ECFB158}"/>
              </a:ext>
            </a:extLst>
          </p:cNvPr>
          <p:cNvSpPr>
            <a:spLocks/>
          </p:cNvSpPr>
          <p:nvPr/>
        </p:nvSpPr>
        <p:spPr bwMode="auto">
          <a:xfrm>
            <a:off x="6415088" y="1666081"/>
            <a:ext cx="962025"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Rectangle 28">
            <a:extLst>
              <a:ext uri="{FF2B5EF4-FFF2-40B4-BE49-F238E27FC236}">
                <a16:creationId xmlns:a16="http://schemas.microsoft.com/office/drawing/2014/main" id="{E648E8D9-500E-4306-91D2-37458DEB1183}"/>
              </a:ext>
            </a:extLst>
          </p:cNvPr>
          <p:cNvSpPr>
            <a:spLocks noChangeArrowheads="1"/>
          </p:cNvSpPr>
          <p:nvPr/>
        </p:nvSpPr>
        <p:spPr bwMode="auto">
          <a:xfrm>
            <a:off x="6705601" y="1764506"/>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Freeform 33">
            <a:extLst>
              <a:ext uri="{FF2B5EF4-FFF2-40B4-BE49-F238E27FC236}">
                <a16:creationId xmlns:a16="http://schemas.microsoft.com/office/drawing/2014/main" id="{3DE9A197-FFF0-4B92-B392-AAA14902AD56}"/>
              </a:ext>
            </a:extLst>
          </p:cNvPr>
          <p:cNvSpPr>
            <a:spLocks/>
          </p:cNvSpPr>
          <p:nvPr/>
        </p:nvSpPr>
        <p:spPr bwMode="auto">
          <a:xfrm>
            <a:off x="911226" y="889794"/>
            <a:ext cx="114300" cy="114300"/>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7"/>
                  <a:pt x="221" y="0"/>
                  <a:pt x="194" y="0"/>
                </a:cubicBezTo>
                <a:cubicBezTo>
                  <a:pt x="167" y="0"/>
                  <a:pt x="137" y="7"/>
                  <a:pt x="115" y="18"/>
                </a:cubicBezTo>
                <a:cubicBezTo>
                  <a:pt x="49"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34">
            <a:extLst>
              <a:ext uri="{FF2B5EF4-FFF2-40B4-BE49-F238E27FC236}">
                <a16:creationId xmlns:a16="http://schemas.microsoft.com/office/drawing/2014/main" id="{3133F51D-BFED-440F-90AC-6D283B55991B}"/>
              </a:ext>
            </a:extLst>
          </p:cNvPr>
          <p:cNvSpPr>
            <a:spLocks/>
          </p:cNvSpPr>
          <p:nvPr/>
        </p:nvSpPr>
        <p:spPr bwMode="auto">
          <a:xfrm>
            <a:off x="882651" y="1018381"/>
            <a:ext cx="171450" cy="85725"/>
          </a:xfrm>
          <a:custGeom>
            <a:avLst/>
            <a:gdLst>
              <a:gd name="T0" fmla="*/ 289 w 577"/>
              <a:gd name="T1" fmla="*/ 0 h 288"/>
              <a:gd name="T2" fmla="*/ 0 w 577"/>
              <a:gd name="T3" fmla="*/ 288 h 288"/>
              <a:gd name="T4" fmla="*/ 577 w 577"/>
              <a:gd name="T5" fmla="*/ 288 h 288"/>
              <a:gd name="T6" fmla="*/ 289 w 577"/>
              <a:gd name="T7" fmla="*/ 0 h 288"/>
            </a:gdLst>
            <a:ahLst/>
            <a:cxnLst>
              <a:cxn ang="0">
                <a:pos x="T0" y="T1"/>
              </a:cxn>
              <a:cxn ang="0">
                <a:pos x="T2" y="T3"/>
              </a:cxn>
              <a:cxn ang="0">
                <a:pos x="T4" y="T5"/>
              </a:cxn>
              <a:cxn ang="0">
                <a:pos x="T6" y="T7"/>
              </a:cxn>
            </a:cxnLst>
            <a:rect l="0" t="0" r="r" b="b"/>
            <a:pathLst>
              <a:path w="577" h="288">
                <a:moveTo>
                  <a:pt x="289" y="0"/>
                </a:moveTo>
                <a:cubicBezTo>
                  <a:pt x="129" y="0"/>
                  <a:pt x="0" y="128"/>
                  <a:pt x="0" y="288"/>
                </a:cubicBezTo>
                <a:lnTo>
                  <a:pt x="577" y="288"/>
                </a:lnTo>
                <a:cubicBezTo>
                  <a:pt x="577" y="130"/>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35">
            <a:extLst>
              <a:ext uri="{FF2B5EF4-FFF2-40B4-BE49-F238E27FC236}">
                <a16:creationId xmlns:a16="http://schemas.microsoft.com/office/drawing/2014/main" id="{F56424A3-708E-4232-92E5-540929C66A26}"/>
              </a:ext>
            </a:extLst>
          </p:cNvPr>
          <p:cNvSpPr>
            <a:spLocks/>
          </p:cNvSpPr>
          <p:nvPr/>
        </p:nvSpPr>
        <p:spPr bwMode="auto">
          <a:xfrm>
            <a:off x="788988" y="1046956"/>
            <a:ext cx="80963"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0"/>
                  <a:pt x="242" y="72"/>
                  <a:pt x="269" y="18"/>
                </a:cubicBezTo>
                <a:cubicBezTo>
                  <a:pt x="246" y="6"/>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36">
            <a:extLst>
              <a:ext uri="{FF2B5EF4-FFF2-40B4-BE49-F238E27FC236}">
                <a16:creationId xmlns:a16="http://schemas.microsoft.com/office/drawing/2014/main" id="{07DB6734-8178-454D-A93D-64AE621A021D}"/>
              </a:ext>
            </a:extLst>
          </p:cNvPr>
          <p:cNvSpPr>
            <a:spLocks/>
          </p:cNvSpPr>
          <p:nvPr/>
        </p:nvSpPr>
        <p:spPr bwMode="auto">
          <a:xfrm>
            <a:off x="803276" y="946944"/>
            <a:ext cx="85725" cy="85725"/>
          </a:xfrm>
          <a:custGeom>
            <a:avLst/>
            <a:gdLst>
              <a:gd name="T0" fmla="*/ 144 w 289"/>
              <a:gd name="T1" fmla="*/ 0 h 288"/>
              <a:gd name="T2" fmla="*/ 0 w 289"/>
              <a:gd name="T3" fmla="*/ 144 h 288"/>
              <a:gd name="T4" fmla="*/ 52 w 289"/>
              <a:gd name="T5" fmla="*/ 255 h 288"/>
              <a:gd name="T6" fmla="*/ 135 w 289"/>
              <a:gd name="T7" fmla="*/ 288 h 288"/>
              <a:gd name="T8" fmla="*/ 144 w 289"/>
              <a:gd name="T9" fmla="*/ 288 h 288"/>
              <a:gd name="T10" fmla="*/ 153 w 289"/>
              <a:gd name="T11" fmla="*/ 288 h 288"/>
              <a:gd name="T12" fmla="*/ 237 w 289"/>
              <a:gd name="T13" fmla="*/ 255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8"/>
                  <a:pt x="52" y="255"/>
                </a:cubicBezTo>
                <a:cubicBezTo>
                  <a:pt x="74" y="275"/>
                  <a:pt x="104" y="286"/>
                  <a:pt x="135" y="288"/>
                </a:cubicBezTo>
                <a:cubicBezTo>
                  <a:pt x="137" y="288"/>
                  <a:pt x="140" y="288"/>
                  <a:pt x="144" y="288"/>
                </a:cubicBezTo>
                <a:cubicBezTo>
                  <a:pt x="146" y="288"/>
                  <a:pt x="149" y="288"/>
                  <a:pt x="153" y="288"/>
                </a:cubicBezTo>
                <a:cubicBezTo>
                  <a:pt x="185" y="286"/>
                  <a:pt x="214" y="275"/>
                  <a:pt x="237" y="255"/>
                </a:cubicBezTo>
                <a:cubicBezTo>
                  <a:pt x="268" y="228"/>
                  <a:pt x="289" y="189"/>
                  <a:pt x="289" y="144"/>
                </a:cubicBezTo>
                <a:cubicBezTo>
                  <a:pt x="289" y="65"/>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37">
            <a:extLst>
              <a:ext uri="{FF2B5EF4-FFF2-40B4-BE49-F238E27FC236}">
                <a16:creationId xmlns:a16="http://schemas.microsoft.com/office/drawing/2014/main" id="{70326266-421D-4944-8D3C-F18C96D0EE12}"/>
              </a:ext>
            </a:extLst>
          </p:cNvPr>
          <p:cNvSpPr>
            <a:spLocks noChangeArrowheads="1"/>
          </p:cNvSpPr>
          <p:nvPr/>
        </p:nvSpPr>
        <p:spPr bwMode="auto">
          <a:xfrm>
            <a:off x="1135063" y="899319"/>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Data Subject Request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2" name="Freeform 48">
            <a:extLst>
              <a:ext uri="{FF2B5EF4-FFF2-40B4-BE49-F238E27FC236}">
                <a16:creationId xmlns:a16="http://schemas.microsoft.com/office/drawing/2014/main" id="{EF58840F-7586-4D00-BE15-B72B82952882}"/>
              </a:ext>
            </a:extLst>
          </p:cNvPr>
          <p:cNvSpPr>
            <a:spLocks/>
          </p:cNvSpPr>
          <p:nvPr/>
        </p:nvSpPr>
        <p:spPr bwMode="auto">
          <a:xfrm>
            <a:off x="9845676" y="1280319"/>
            <a:ext cx="115888" cy="114300"/>
          </a:xfrm>
          <a:custGeom>
            <a:avLst/>
            <a:gdLst>
              <a:gd name="T0" fmla="*/ 194 w 386"/>
              <a:gd name="T1" fmla="*/ 386 h 386"/>
              <a:gd name="T2" fmla="*/ 386 w 386"/>
              <a:gd name="T3" fmla="*/ 194 h 386"/>
              <a:gd name="T4" fmla="*/ 273 w 386"/>
              <a:gd name="T5" fmla="*/ 19 h 386"/>
              <a:gd name="T6" fmla="*/ 194 w 386"/>
              <a:gd name="T7" fmla="*/ 0 h 386"/>
              <a:gd name="T8" fmla="*/ 115 w 386"/>
              <a:gd name="T9" fmla="*/ 19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6"/>
                  <a:pt x="338" y="50"/>
                  <a:pt x="273" y="19"/>
                </a:cubicBezTo>
                <a:cubicBezTo>
                  <a:pt x="248" y="7"/>
                  <a:pt x="221" y="0"/>
                  <a:pt x="194" y="0"/>
                </a:cubicBezTo>
                <a:cubicBezTo>
                  <a:pt x="167" y="0"/>
                  <a:pt x="138" y="7"/>
                  <a:pt x="115" y="19"/>
                </a:cubicBezTo>
                <a:cubicBezTo>
                  <a:pt x="50" y="48"/>
                  <a:pt x="2" y="116"/>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49">
            <a:extLst>
              <a:ext uri="{FF2B5EF4-FFF2-40B4-BE49-F238E27FC236}">
                <a16:creationId xmlns:a16="http://schemas.microsoft.com/office/drawing/2014/main" id="{AEA90F4B-DFB6-4DBA-8F83-B2DF2C9E47F0}"/>
              </a:ext>
            </a:extLst>
          </p:cNvPr>
          <p:cNvSpPr>
            <a:spLocks/>
          </p:cNvSpPr>
          <p:nvPr/>
        </p:nvSpPr>
        <p:spPr bwMode="auto">
          <a:xfrm>
            <a:off x="9818688" y="1408906"/>
            <a:ext cx="171450" cy="85725"/>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0">
            <a:extLst>
              <a:ext uri="{FF2B5EF4-FFF2-40B4-BE49-F238E27FC236}">
                <a16:creationId xmlns:a16="http://schemas.microsoft.com/office/drawing/2014/main" id="{4F8D21F7-F276-49AE-BF04-1D4372346D62}"/>
              </a:ext>
            </a:extLst>
          </p:cNvPr>
          <p:cNvSpPr>
            <a:spLocks/>
          </p:cNvSpPr>
          <p:nvPr/>
        </p:nvSpPr>
        <p:spPr bwMode="auto">
          <a:xfrm>
            <a:off x="9725026" y="1437481"/>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7"/>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
            <a:extLst>
              <a:ext uri="{FF2B5EF4-FFF2-40B4-BE49-F238E27FC236}">
                <a16:creationId xmlns:a16="http://schemas.microsoft.com/office/drawing/2014/main" id="{CFA1E9BA-24A1-46A5-B5B3-2211B9F407BF}"/>
              </a:ext>
            </a:extLst>
          </p:cNvPr>
          <p:cNvSpPr>
            <a:spLocks/>
          </p:cNvSpPr>
          <p:nvPr/>
        </p:nvSpPr>
        <p:spPr bwMode="auto">
          <a:xfrm>
            <a:off x="9739313" y="1337469"/>
            <a:ext cx="85725" cy="87313"/>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6"/>
                  <a:pt x="104" y="287"/>
                  <a:pt x="136" y="289"/>
                </a:cubicBezTo>
                <a:cubicBezTo>
                  <a:pt x="138" y="289"/>
                  <a:pt x="140" y="289"/>
                  <a:pt x="145" y="289"/>
                </a:cubicBezTo>
                <a:cubicBezTo>
                  <a:pt x="147" y="289"/>
                  <a:pt x="149" y="289"/>
                  <a:pt x="154" y="289"/>
                </a:cubicBezTo>
                <a:cubicBezTo>
                  <a:pt x="185" y="287"/>
                  <a:pt x="215" y="276"/>
                  <a:pt x="237" y="255"/>
                </a:cubicBezTo>
                <a:cubicBezTo>
                  <a:pt x="269" y="228"/>
                  <a:pt x="289" y="190"/>
                  <a:pt x="289" y="145"/>
                </a:cubicBezTo>
                <a:cubicBezTo>
                  <a:pt x="289" y="66"/>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2">
            <a:extLst>
              <a:ext uri="{FF2B5EF4-FFF2-40B4-BE49-F238E27FC236}">
                <a16:creationId xmlns:a16="http://schemas.microsoft.com/office/drawing/2014/main" id="{B85846DF-ACF6-46F0-85E6-130593EFD739}"/>
              </a:ext>
            </a:extLst>
          </p:cNvPr>
          <p:cNvSpPr>
            <a:spLocks noChangeArrowheads="1"/>
          </p:cNvSpPr>
          <p:nvPr/>
        </p:nvSpPr>
        <p:spPr bwMode="auto">
          <a:xfrm>
            <a:off x="10029826" y="1275556"/>
            <a:ext cx="8445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Case Analy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7" name="Freeform 53">
            <a:extLst>
              <a:ext uri="{FF2B5EF4-FFF2-40B4-BE49-F238E27FC236}">
                <a16:creationId xmlns:a16="http://schemas.microsoft.com/office/drawing/2014/main" id="{EA022908-F1CA-492D-9786-E2DA7CFEFA3B}"/>
              </a:ext>
            </a:extLst>
          </p:cNvPr>
          <p:cNvSpPr>
            <a:spLocks/>
          </p:cNvSpPr>
          <p:nvPr/>
        </p:nvSpPr>
        <p:spPr bwMode="auto">
          <a:xfrm>
            <a:off x="5876926" y="885031"/>
            <a:ext cx="114300" cy="115888"/>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8" y="7"/>
                  <a:pt x="221" y="0"/>
                  <a:pt x="194" y="0"/>
                </a:cubicBezTo>
                <a:cubicBezTo>
                  <a:pt x="167" y="0"/>
                  <a:pt x="138" y="7"/>
                  <a:pt x="115" y="18"/>
                </a:cubicBezTo>
                <a:cubicBezTo>
                  <a:pt x="50" y="48"/>
                  <a:pt x="3" y="115"/>
                  <a:pt x="3"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4">
            <a:extLst>
              <a:ext uri="{FF2B5EF4-FFF2-40B4-BE49-F238E27FC236}">
                <a16:creationId xmlns:a16="http://schemas.microsoft.com/office/drawing/2014/main" id="{C51519D0-538D-42A1-9C25-FD6603370EB4}"/>
              </a:ext>
            </a:extLst>
          </p:cNvPr>
          <p:cNvSpPr>
            <a:spLocks/>
          </p:cNvSpPr>
          <p:nvPr/>
        </p:nvSpPr>
        <p:spPr bwMode="auto">
          <a:xfrm>
            <a:off x="5848351" y="1013619"/>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55">
            <a:extLst>
              <a:ext uri="{FF2B5EF4-FFF2-40B4-BE49-F238E27FC236}">
                <a16:creationId xmlns:a16="http://schemas.microsoft.com/office/drawing/2014/main" id="{8DFB5E6D-E9C1-4EE5-9CD7-9EB34A35F9CD}"/>
              </a:ext>
            </a:extLst>
          </p:cNvPr>
          <p:cNvSpPr>
            <a:spLocks/>
          </p:cNvSpPr>
          <p:nvPr/>
        </p:nvSpPr>
        <p:spPr bwMode="auto">
          <a:xfrm>
            <a:off x="5754688" y="1042194"/>
            <a:ext cx="80963" cy="58738"/>
          </a:xfrm>
          <a:custGeom>
            <a:avLst/>
            <a:gdLst>
              <a:gd name="T0" fmla="*/ 0 w 268"/>
              <a:gd name="T1" fmla="*/ 194 h 194"/>
              <a:gd name="T2" fmla="*/ 226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2"/>
                  <a:pt x="268"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56">
            <a:extLst>
              <a:ext uri="{FF2B5EF4-FFF2-40B4-BE49-F238E27FC236}">
                <a16:creationId xmlns:a16="http://schemas.microsoft.com/office/drawing/2014/main" id="{D44F642E-893A-44D3-980F-B2498BD0DF32}"/>
              </a:ext>
            </a:extLst>
          </p:cNvPr>
          <p:cNvSpPr>
            <a:spLocks/>
          </p:cNvSpPr>
          <p:nvPr/>
        </p:nvSpPr>
        <p:spPr bwMode="auto">
          <a:xfrm>
            <a:off x="5768976" y="943769"/>
            <a:ext cx="85725" cy="85725"/>
          </a:xfrm>
          <a:custGeom>
            <a:avLst/>
            <a:gdLst>
              <a:gd name="T0" fmla="*/ 145 w 289"/>
              <a:gd name="T1" fmla="*/ 0 h 289"/>
              <a:gd name="T2" fmla="*/ 0 w 289"/>
              <a:gd name="T3" fmla="*/ 145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5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6"/>
                  <a:pt x="0" y="145"/>
                </a:cubicBezTo>
                <a:cubicBezTo>
                  <a:pt x="0" y="190"/>
                  <a:pt x="21" y="228"/>
                  <a:pt x="52" y="255"/>
                </a:cubicBezTo>
                <a:cubicBezTo>
                  <a:pt x="75" y="275"/>
                  <a:pt x="104" y="287"/>
                  <a:pt x="136" y="289"/>
                </a:cubicBezTo>
                <a:cubicBezTo>
                  <a:pt x="138" y="289"/>
                  <a:pt x="140" y="289"/>
                  <a:pt x="145" y="289"/>
                </a:cubicBezTo>
                <a:cubicBezTo>
                  <a:pt x="147" y="289"/>
                  <a:pt x="149" y="289"/>
                  <a:pt x="154" y="289"/>
                </a:cubicBezTo>
                <a:cubicBezTo>
                  <a:pt x="185" y="287"/>
                  <a:pt x="215" y="275"/>
                  <a:pt x="237" y="255"/>
                </a:cubicBezTo>
                <a:cubicBezTo>
                  <a:pt x="269" y="228"/>
                  <a:pt x="289" y="190"/>
                  <a:pt x="289" y="145"/>
                </a:cubicBezTo>
                <a:cubicBezTo>
                  <a:pt x="289" y="66"/>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7">
            <a:extLst>
              <a:ext uri="{FF2B5EF4-FFF2-40B4-BE49-F238E27FC236}">
                <a16:creationId xmlns:a16="http://schemas.microsoft.com/office/drawing/2014/main" id="{0A566207-A222-4200-A19E-09E8B8945802}"/>
              </a:ext>
            </a:extLst>
          </p:cNvPr>
          <p:cNvSpPr>
            <a:spLocks noChangeArrowheads="1"/>
          </p:cNvSpPr>
          <p:nvPr/>
        </p:nvSpPr>
        <p:spPr bwMode="auto">
          <a:xfrm>
            <a:off x="6127751" y="915194"/>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Privacy Management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2" name="Line 58">
            <a:extLst>
              <a:ext uri="{FF2B5EF4-FFF2-40B4-BE49-F238E27FC236}">
                <a16:creationId xmlns:a16="http://schemas.microsoft.com/office/drawing/2014/main" id="{C78560EB-EA81-4A80-98E6-21C2E35796DB}"/>
              </a:ext>
            </a:extLst>
          </p:cNvPr>
          <p:cNvSpPr>
            <a:spLocks noChangeShapeType="1"/>
          </p:cNvSpPr>
          <p:nvPr/>
        </p:nvSpPr>
        <p:spPr bwMode="auto">
          <a:xfrm>
            <a:off x="4648201" y="627856"/>
            <a:ext cx="1858963"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 name="Freeform 59">
            <a:extLst>
              <a:ext uri="{FF2B5EF4-FFF2-40B4-BE49-F238E27FC236}">
                <a16:creationId xmlns:a16="http://schemas.microsoft.com/office/drawing/2014/main" id="{B14DC75D-990B-4545-9E17-A3684D79579E}"/>
              </a:ext>
            </a:extLst>
          </p:cNvPr>
          <p:cNvSpPr>
            <a:spLocks/>
          </p:cNvSpPr>
          <p:nvPr/>
        </p:nvSpPr>
        <p:spPr bwMode="auto">
          <a:xfrm>
            <a:off x="6469063" y="1589881"/>
            <a:ext cx="93663" cy="76200"/>
          </a:xfrm>
          <a:custGeom>
            <a:avLst/>
            <a:gdLst>
              <a:gd name="T0" fmla="*/ 312 w 312"/>
              <a:gd name="T1" fmla="*/ 256 h 256"/>
              <a:gd name="T2" fmla="*/ 0 w 312"/>
              <a:gd name="T3" fmla="*/ 246 h 256"/>
              <a:gd name="T4" fmla="*/ 133 w 312"/>
              <a:gd name="T5" fmla="*/ 0 h 256"/>
              <a:gd name="T6" fmla="*/ 312 w 312"/>
              <a:gd name="T7" fmla="*/ 256 h 256"/>
            </a:gdLst>
            <a:ahLst/>
            <a:cxnLst>
              <a:cxn ang="0">
                <a:pos x="T0" y="T1"/>
              </a:cxn>
              <a:cxn ang="0">
                <a:pos x="T2" y="T3"/>
              </a:cxn>
              <a:cxn ang="0">
                <a:pos x="T4" y="T5"/>
              </a:cxn>
              <a:cxn ang="0">
                <a:pos x="T6" y="T7"/>
              </a:cxn>
            </a:cxnLst>
            <a:rect l="0" t="0" r="r" b="b"/>
            <a:pathLst>
              <a:path w="312" h="256">
                <a:moveTo>
                  <a:pt x="312" y="256"/>
                </a:moveTo>
                <a:lnTo>
                  <a:pt x="0" y="246"/>
                </a:lnTo>
                <a:cubicBezTo>
                  <a:pt x="80" y="189"/>
                  <a:pt x="130" y="98"/>
                  <a:pt x="133" y="0"/>
                </a:cubicBezTo>
                <a:lnTo>
                  <a:pt x="312" y="256"/>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Line 60">
            <a:extLst>
              <a:ext uri="{FF2B5EF4-FFF2-40B4-BE49-F238E27FC236}">
                <a16:creationId xmlns:a16="http://schemas.microsoft.com/office/drawing/2014/main" id="{80B94266-0698-4496-BB16-556DB8D1B072}"/>
              </a:ext>
            </a:extLst>
          </p:cNvPr>
          <p:cNvSpPr>
            <a:spLocks noChangeShapeType="1"/>
          </p:cNvSpPr>
          <p:nvPr/>
        </p:nvSpPr>
        <p:spPr bwMode="auto">
          <a:xfrm flipH="1">
            <a:off x="1912938" y="627856"/>
            <a:ext cx="2043113"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 name="Freeform 61">
            <a:extLst>
              <a:ext uri="{FF2B5EF4-FFF2-40B4-BE49-F238E27FC236}">
                <a16:creationId xmlns:a16="http://schemas.microsoft.com/office/drawing/2014/main" id="{C17552BE-E9EA-4175-B598-CAD5B4B15AA6}"/>
              </a:ext>
            </a:extLst>
          </p:cNvPr>
          <p:cNvSpPr>
            <a:spLocks/>
          </p:cNvSpPr>
          <p:nvPr/>
        </p:nvSpPr>
        <p:spPr bwMode="auto">
          <a:xfrm>
            <a:off x="1855788" y="1616869"/>
            <a:ext cx="93663" cy="74613"/>
          </a:xfrm>
          <a:custGeom>
            <a:avLst/>
            <a:gdLst>
              <a:gd name="T0" fmla="*/ 0 w 312"/>
              <a:gd name="T1" fmla="*/ 250 h 250"/>
              <a:gd name="T2" fmla="*/ 186 w 312"/>
              <a:gd name="T3" fmla="*/ 0 h 250"/>
              <a:gd name="T4" fmla="*/ 312 w 312"/>
              <a:gd name="T5" fmla="*/ 249 h 250"/>
              <a:gd name="T6" fmla="*/ 0 w 312"/>
              <a:gd name="T7" fmla="*/ 250 h 250"/>
            </a:gdLst>
            <a:ahLst/>
            <a:cxnLst>
              <a:cxn ang="0">
                <a:pos x="T0" y="T1"/>
              </a:cxn>
              <a:cxn ang="0">
                <a:pos x="T2" y="T3"/>
              </a:cxn>
              <a:cxn ang="0">
                <a:pos x="T4" y="T5"/>
              </a:cxn>
              <a:cxn ang="0">
                <a:pos x="T6" y="T7"/>
              </a:cxn>
            </a:cxnLst>
            <a:rect l="0" t="0" r="r" b="b"/>
            <a:pathLst>
              <a:path w="312" h="250">
                <a:moveTo>
                  <a:pt x="0" y="250"/>
                </a:moveTo>
                <a:lnTo>
                  <a:pt x="186" y="0"/>
                </a:lnTo>
                <a:cubicBezTo>
                  <a:pt x="187" y="98"/>
                  <a:pt x="234" y="190"/>
                  <a:pt x="312" y="249"/>
                </a:cubicBezTo>
                <a:lnTo>
                  <a:pt x="0" y="25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 3">
            <a:extLst>
              <a:ext uri="{FF2B5EF4-FFF2-40B4-BE49-F238E27FC236}">
                <a16:creationId xmlns:a16="http://schemas.microsoft.com/office/drawing/2014/main" id="{099FE253-329D-4E2D-9783-11FC4B759328}"/>
              </a:ext>
            </a:extLst>
          </p:cNvPr>
          <p:cNvGrpSpPr/>
          <p:nvPr/>
        </p:nvGrpSpPr>
        <p:grpSpPr>
          <a:xfrm>
            <a:off x="4795838" y="173831"/>
            <a:ext cx="4513263" cy="644526"/>
            <a:chOff x="4795838" y="173831"/>
            <a:chExt cx="4513263" cy="644526"/>
          </a:xfrm>
        </p:grpSpPr>
        <p:sp>
          <p:nvSpPr>
            <p:cNvPr id="336" name="Freeform 62">
              <a:extLst>
                <a:ext uri="{FF2B5EF4-FFF2-40B4-BE49-F238E27FC236}">
                  <a16:creationId xmlns:a16="http://schemas.microsoft.com/office/drawing/2014/main" id="{594B2596-D3CD-4387-93EB-DE42CDAEF886}"/>
                </a:ext>
              </a:extLst>
            </p:cNvPr>
            <p:cNvSpPr>
              <a:spLocks/>
            </p:cNvSpPr>
            <p:nvPr/>
          </p:nvSpPr>
          <p:spPr bwMode="auto">
            <a:xfrm>
              <a:off x="6573838" y="2659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63">
              <a:extLst>
                <a:ext uri="{FF2B5EF4-FFF2-40B4-BE49-F238E27FC236}">
                  <a16:creationId xmlns:a16="http://schemas.microsoft.com/office/drawing/2014/main" id="{82F46C05-DB69-4525-87DB-20CA667A43C9}"/>
                </a:ext>
              </a:extLst>
            </p:cNvPr>
            <p:cNvSpPr>
              <a:spLocks/>
            </p:cNvSpPr>
            <p:nvPr/>
          </p:nvSpPr>
          <p:spPr bwMode="auto">
            <a:xfrm>
              <a:off x="6573838" y="2659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 name="Rectangle 64">
              <a:extLst>
                <a:ext uri="{FF2B5EF4-FFF2-40B4-BE49-F238E27FC236}">
                  <a16:creationId xmlns:a16="http://schemas.microsoft.com/office/drawing/2014/main" id="{E8F1BFB6-5831-4F4F-8C99-8813FBF6CD1D}"/>
                </a:ext>
              </a:extLst>
            </p:cNvPr>
            <p:cNvSpPr>
              <a:spLocks noChangeArrowheads="1"/>
            </p:cNvSpPr>
            <p:nvPr/>
          </p:nvSpPr>
          <p:spPr bwMode="auto">
            <a:xfrm>
              <a:off x="6851651" y="362744"/>
              <a:ext cx="5191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9" name="Line 65">
              <a:extLst>
                <a:ext uri="{FF2B5EF4-FFF2-40B4-BE49-F238E27FC236}">
                  <a16:creationId xmlns:a16="http://schemas.microsoft.com/office/drawing/2014/main" id="{CABA02F1-EA2E-4D71-B268-2ADBF8229716}"/>
                </a:ext>
              </a:extLst>
            </p:cNvPr>
            <p:cNvSpPr>
              <a:spLocks noChangeShapeType="1"/>
            </p:cNvSpPr>
            <p:nvPr/>
          </p:nvSpPr>
          <p:spPr bwMode="auto">
            <a:xfrm>
              <a:off x="4795838" y="446881"/>
              <a:ext cx="1714500" cy="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0" name="Freeform 66">
              <a:extLst>
                <a:ext uri="{FF2B5EF4-FFF2-40B4-BE49-F238E27FC236}">
                  <a16:creationId xmlns:a16="http://schemas.microsoft.com/office/drawing/2014/main" id="{AEC48A42-4A82-4672-99E0-A5DAA6D987DB}"/>
                </a:ext>
              </a:extLst>
            </p:cNvPr>
            <p:cNvSpPr>
              <a:spLocks/>
            </p:cNvSpPr>
            <p:nvPr/>
          </p:nvSpPr>
          <p:spPr bwMode="auto">
            <a:xfrm>
              <a:off x="6489701" y="405606"/>
              <a:ext cx="84138"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67">
              <a:extLst>
                <a:ext uri="{FF2B5EF4-FFF2-40B4-BE49-F238E27FC236}">
                  <a16:creationId xmlns:a16="http://schemas.microsoft.com/office/drawing/2014/main" id="{E1444C12-2EFD-4F1B-B00C-0993DC17E840}"/>
                </a:ext>
              </a:extLst>
            </p:cNvPr>
            <p:cNvSpPr>
              <a:spLocks noChangeArrowheads="1"/>
            </p:cNvSpPr>
            <p:nvPr/>
          </p:nvSpPr>
          <p:spPr bwMode="auto">
            <a:xfrm>
              <a:off x="7607301" y="173831"/>
              <a:ext cx="1430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nonymisation for User privac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2" name="Rectangle 68">
              <a:extLst>
                <a:ext uri="{FF2B5EF4-FFF2-40B4-BE49-F238E27FC236}">
                  <a16:creationId xmlns:a16="http://schemas.microsoft.com/office/drawing/2014/main" id="{D9CD7972-5201-4653-89DC-63748CB1BC90}"/>
                </a:ext>
              </a:extLst>
            </p:cNvPr>
            <p:cNvSpPr>
              <a:spLocks noChangeArrowheads="1"/>
            </p:cNvSpPr>
            <p:nvPr/>
          </p:nvSpPr>
          <p:spPr bwMode="auto">
            <a:xfrm>
              <a:off x="7607301" y="296069"/>
              <a:ext cx="8191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User notif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3" name="Rectangle 69">
              <a:extLst>
                <a:ext uri="{FF2B5EF4-FFF2-40B4-BE49-F238E27FC236}">
                  <a16:creationId xmlns:a16="http://schemas.microsoft.com/office/drawing/2014/main" id="{38C5D174-DC03-4CDD-9D8A-E2CA63D83132}"/>
                </a:ext>
              </a:extLst>
            </p:cNvPr>
            <p:cNvSpPr>
              <a:spLocks noChangeArrowheads="1"/>
            </p:cNvSpPr>
            <p:nvPr/>
          </p:nvSpPr>
          <p:spPr bwMode="auto">
            <a:xfrm>
              <a:off x="7607301" y="416719"/>
              <a:ext cx="14922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Personal data : schema + uploa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4" name="Rectangle 70">
              <a:extLst>
                <a:ext uri="{FF2B5EF4-FFF2-40B4-BE49-F238E27FC236}">
                  <a16:creationId xmlns:a16="http://schemas.microsoft.com/office/drawing/2014/main" id="{AC1B87CA-C0EF-45AF-A0B3-1028BB11A34A}"/>
                </a:ext>
              </a:extLst>
            </p:cNvPr>
            <p:cNvSpPr>
              <a:spLocks noChangeArrowheads="1"/>
            </p:cNvSpPr>
            <p:nvPr/>
          </p:nvSpPr>
          <p:spPr bwMode="auto">
            <a:xfrm>
              <a:off x="7607301" y="538956"/>
              <a:ext cx="17018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subject request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5" name="Rectangle 71">
              <a:extLst>
                <a:ext uri="{FF2B5EF4-FFF2-40B4-BE49-F238E27FC236}">
                  <a16:creationId xmlns:a16="http://schemas.microsoft.com/office/drawing/2014/main" id="{F8345FA9-2A6A-43C8-9998-6928F52431A7}"/>
                </a:ext>
              </a:extLst>
            </p:cNvPr>
            <p:cNvSpPr>
              <a:spLocks noChangeArrowheads="1"/>
            </p:cNvSpPr>
            <p:nvPr/>
          </p:nvSpPr>
          <p:spPr bwMode="auto">
            <a:xfrm>
              <a:off x="7607301" y="661194"/>
              <a:ext cx="16208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review tags (system + custo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379" name="Freeform 105">
            <a:extLst>
              <a:ext uri="{FF2B5EF4-FFF2-40B4-BE49-F238E27FC236}">
                <a16:creationId xmlns:a16="http://schemas.microsoft.com/office/drawing/2014/main" id="{96AF54EF-6F08-4D58-A2A1-4C0E361D9AFC}"/>
              </a:ext>
            </a:extLst>
          </p:cNvPr>
          <p:cNvSpPr>
            <a:spLocks/>
          </p:cNvSpPr>
          <p:nvPr/>
        </p:nvSpPr>
        <p:spPr bwMode="auto">
          <a:xfrm>
            <a:off x="2176463" y="3661569"/>
            <a:ext cx="962025" cy="363538"/>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106">
            <a:extLst>
              <a:ext uri="{FF2B5EF4-FFF2-40B4-BE49-F238E27FC236}">
                <a16:creationId xmlns:a16="http://schemas.microsoft.com/office/drawing/2014/main" id="{701A4860-B75A-4BD8-A633-75B5F05EA4BE}"/>
              </a:ext>
            </a:extLst>
          </p:cNvPr>
          <p:cNvSpPr>
            <a:spLocks/>
          </p:cNvSpPr>
          <p:nvPr/>
        </p:nvSpPr>
        <p:spPr bwMode="auto">
          <a:xfrm>
            <a:off x="2176463" y="3661569"/>
            <a:ext cx="962025" cy="363538"/>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07">
            <a:extLst>
              <a:ext uri="{FF2B5EF4-FFF2-40B4-BE49-F238E27FC236}">
                <a16:creationId xmlns:a16="http://schemas.microsoft.com/office/drawing/2014/main" id="{BFFFBAB0-B685-48E5-A265-4F9071C0C85B}"/>
              </a:ext>
            </a:extLst>
          </p:cNvPr>
          <p:cNvSpPr>
            <a:spLocks noChangeArrowheads="1"/>
          </p:cNvSpPr>
          <p:nvPr/>
        </p:nvSpPr>
        <p:spPr bwMode="auto">
          <a:xfrm>
            <a:off x="2289176" y="3691731"/>
            <a:ext cx="877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ata collect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2" name="Rectangle 108">
            <a:extLst>
              <a:ext uri="{FF2B5EF4-FFF2-40B4-BE49-F238E27FC236}">
                <a16:creationId xmlns:a16="http://schemas.microsoft.com/office/drawing/2014/main" id="{C39BD681-A28E-40B5-82F8-491D8F95FBD9}"/>
              </a:ext>
            </a:extLst>
          </p:cNvPr>
          <p:cNvSpPr>
            <a:spLocks noChangeArrowheads="1"/>
          </p:cNvSpPr>
          <p:nvPr/>
        </p:nvSpPr>
        <p:spPr bwMode="auto">
          <a:xfrm>
            <a:off x="2308226" y="3861594"/>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Files &amp; Messag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3" name="Freeform 109">
            <a:extLst>
              <a:ext uri="{FF2B5EF4-FFF2-40B4-BE49-F238E27FC236}">
                <a16:creationId xmlns:a16="http://schemas.microsoft.com/office/drawing/2014/main" id="{790596D9-393D-4BDA-94E0-8153969F9FF6}"/>
              </a:ext>
            </a:extLst>
          </p:cNvPr>
          <p:cNvSpPr>
            <a:spLocks noEditPoints="1"/>
          </p:cNvSpPr>
          <p:nvPr/>
        </p:nvSpPr>
        <p:spPr bwMode="auto">
          <a:xfrm>
            <a:off x="1493838" y="2048669"/>
            <a:ext cx="623888" cy="1800225"/>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5"/>
                  <a:pt x="393" y="6023"/>
                </a:cubicBezTo>
                <a:cubicBezTo>
                  <a:pt x="393" y="6032"/>
                  <a:pt x="386" y="6039"/>
                  <a:pt x="377" y="6039"/>
                </a:cubicBezTo>
                <a:lnTo>
                  <a:pt x="153" y="6039"/>
                </a:lnTo>
                <a:cubicBezTo>
                  <a:pt x="145" y="6039"/>
                  <a:pt x="137" y="6032"/>
                  <a:pt x="137" y="6023"/>
                </a:cubicBezTo>
                <a:cubicBezTo>
                  <a:pt x="137" y="6015"/>
                  <a:pt x="145" y="6007"/>
                  <a:pt x="153" y="6007"/>
                </a:cubicBezTo>
                <a:close/>
                <a:moveTo>
                  <a:pt x="537" y="6007"/>
                </a:moveTo>
                <a:lnTo>
                  <a:pt x="761" y="6007"/>
                </a:lnTo>
                <a:cubicBezTo>
                  <a:pt x="770" y="6007"/>
                  <a:pt x="777" y="6015"/>
                  <a:pt x="777" y="6023"/>
                </a:cubicBezTo>
                <a:cubicBezTo>
                  <a:pt x="777" y="6032"/>
                  <a:pt x="770" y="6039"/>
                  <a:pt x="761" y="6039"/>
                </a:cubicBezTo>
                <a:lnTo>
                  <a:pt x="537" y="6039"/>
                </a:lnTo>
                <a:cubicBezTo>
                  <a:pt x="529" y="6039"/>
                  <a:pt x="521" y="6032"/>
                  <a:pt x="521" y="6023"/>
                </a:cubicBezTo>
                <a:cubicBezTo>
                  <a:pt x="521" y="6015"/>
                  <a:pt x="529" y="6007"/>
                  <a:pt x="537" y="6007"/>
                </a:cubicBezTo>
                <a:close/>
                <a:moveTo>
                  <a:pt x="921" y="6007"/>
                </a:moveTo>
                <a:lnTo>
                  <a:pt x="1145" y="6007"/>
                </a:lnTo>
                <a:cubicBezTo>
                  <a:pt x="1154" y="6007"/>
                  <a:pt x="1161" y="6015"/>
                  <a:pt x="1161" y="6023"/>
                </a:cubicBezTo>
                <a:cubicBezTo>
                  <a:pt x="1161" y="6032"/>
                  <a:pt x="1154" y="6039"/>
                  <a:pt x="1145" y="6039"/>
                </a:cubicBezTo>
                <a:lnTo>
                  <a:pt x="921" y="6039"/>
                </a:lnTo>
                <a:cubicBezTo>
                  <a:pt x="913" y="6039"/>
                  <a:pt x="905" y="6032"/>
                  <a:pt x="905" y="6023"/>
                </a:cubicBezTo>
                <a:cubicBezTo>
                  <a:pt x="905" y="6015"/>
                  <a:pt x="913" y="6007"/>
                  <a:pt x="921" y="6007"/>
                </a:cubicBezTo>
                <a:close/>
                <a:moveTo>
                  <a:pt x="1305" y="6007"/>
                </a:moveTo>
                <a:lnTo>
                  <a:pt x="1529" y="6007"/>
                </a:lnTo>
                <a:cubicBezTo>
                  <a:pt x="1538" y="6007"/>
                  <a:pt x="1545" y="6015"/>
                  <a:pt x="1545" y="6023"/>
                </a:cubicBezTo>
                <a:cubicBezTo>
                  <a:pt x="1545" y="6032"/>
                  <a:pt x="1538" y="6039"/>
                  <a:pt x="1529" y="6039"/>
                </a:cubicBezTo>
                <a:lnTo>
                  <a:pt x="1305" y="6039"/>
                </a:lnTo>
                <a:cubicBezTo>
                  <a:pt x="1297" y="6039"/>
                  <a:pt x="1289" y="6032"/>
                  <a:pt x="1289" y="6023"/>
                </a:cubicBezTo>
                <a:cubicBezTo>
                  <a:pt x="1289" y="6015"/>
                  <a:pt x="1297" y="6007"/>
                  <a:pt x="1305" y="6007"/>
                </a:cubicBezTo>
                <a:close/>
                <a:moveTo>
                  <a:pt x="1689" y="6007"/>
                </a:moveTo>
                <a:lnTo>
                  <a:pt x="1913" y="6007"/>
                </a:lnTo>
                <a:cubicBezTo>
                  <a:pt x="1922" y="6007"/>
                  <a:pt x="1929" y="6015"/>
                  <a:pt x="1929" y="6023"/>
                </a:cubicBezTo>
                <a:cubicBezTo>
                  <a:pt x="1929" y="6032"/>
                  <a:pt x="1922" y="6039"/>
                  <a:pt x="1913" y="6039"/>
                </a:cubicBezTo>
                <a:lnTo>
                  <a:pt x="1689" y="6039"/>
                </a:lnTo>
                <a:cubicBezTo>
                  <a:pt x="1681" y="6039"/>
                  <a:pt x="1673" y="6032"/>
                  <a:pt x="1673" y="6023"/>
                </a:cubicBezTo>
                <a:cubicBezTo>
                  <a:pt x="1673" y="6015"/>
                  <a:pt x="1681" y="6007"/>
                  <a:pt x="1689" y="6007"/>
                </a:cubicBezTo>
                <a:close/>
                <a:moveTo>
                  <a:pt x="2073" y="6007"/>
                </a:moveTo>
                <a:lnTo>
                  <a:pt x="2078" y="6007"/>
                </a:lnTo>
                <a:cubicBezTo>
                  <a:pt x="2087" y="6007"/>
                  <a:pt x="2094" y="6015"/>
                  <a:pt x="2094" y="6023"/>
                </a:cubicBezTo>
                <a:cubicBezTo>
                  <a:pt x="2094" y="6032"/>
                  <a:pt x="2087" y="6039"/>
                  <a:pt x="2078" y="6039"/>
                </a:cubicBezTo>
                <a:lnTo>
                  <a:pt x="2073" y="6039"/>
                </a:lnTo>
                <a:cubicBezTo>
                  <a:pt x="2065" y="6039"/>
                  <a:pt x="2057" y="6032"/>
                  <a:pt x="2057" y="6023"/>
                </a:cubicBezTo>
                <a:cubicBezTo>
                  <a:pt x="2057" y="6015"/>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110">
            <a:extLst>
              <a:ext uri="{FF2B5EF4-FFF2-40B4-BE49-F238E27FC236}">
                <a16:creationId xmlns:a16="http://schemas.microsoft.com/office/drawing/2014/main" id="{7BC24243-7EBF-4CC0-A0A5-E92BE90CE543}"/>
              </a:ext>
            </a:extLst>
          </p:cNvPr>
          <p:cNvSpPr>
            <a:spLocks/>
          </p:cNvSpPr>
          <p:nvPr/>
        </p:nvSpPr>
        <p:spPr bwMode="auto">
          <a:xfrm>
            <a:off x="2092326" y="3801269"/>
            <a:ext cx="84138"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111">
            <a:extLst>
              <a:ext uri="{FF2B5EF4-FFF2-40B4-BE49-F238E27FC236}">
                <a16:creationId xmlns:a16="http://schemas.microsoft.com/office/drawing/2014/main" id="{CDD3FA9C-17B9-4F51-8253-608C8730E987}"/>
              </a:ext>
            </a:extLst>
          </p:cNvPr>
          <p:cNvSpPr>
            <a:spLocks/>
          </p:cNvSpPr>
          <p:nvPr/>
        </p:nvSpPr>
        <p:spPr bwMode="auto">
          <a:xfrm>
            <a:off x="2176463" y="4247356"/>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112">
            <a:extLst>
              <a:ext uri="{FF2B5EF4-FFF2-40B4-BE49-F238E27FC236}">
                <a16:creationId xmlns:a16="http://schemas.microsoft.com/office/drawing/2014/main" id="{18549656-ED7A-4DB9-A671-AD67E1BB531C}"/>
              </a:ext>
            </a:extLst>
          </p:cNvPr>
          <p:cNvSpPr>
            <a:spLocks/>
          </p:cNvSpPr>
          <p:nvPr/>
        </p:nvSpPr>
        <p:spPr bwMode="auto">
          <a:xfrm>
            <a:off x="2176463" y="4247356"/>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13">
            <a:extLst>
              <a:ext uri="{FF2B5EF4-FFF2-40B4-BE49-F238E27FC236}">
                <a16:creationId xmlns:a16="http://schemas.microsoft.com/office/drawing/2014/main" id="{AD85BD92-ADCC-475A-89B3-9DBA5FF03667}"/>
              </a:ext>
            </a:extLst>
          </p:cNvPr>
          <p:cNvSpPr>
            <a:spLocks noChangeArrowheads="1"/>
          </p:cNvSpPr>
          <p:nvPr/>
        </p:nvSpPr>
        <p:spPr bwMode="auto">
          <a:xfrm>
            <a:off x="2457451" y="4345781"/>
            <a:ext cx="511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po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8" name="Freeform 114">
            <a:extLst>
              <a:ext uri="{FF2B5EF4-FFF2-40B4-BE49-F238E27FC236}">
                <a16:creationId xmlns:a16="http://schemas.microsoft.com/office/drawing/2014/main" id="{03A70C0E-FB8D-4462-A954-9FDEEF7AE8AA}"/>
              </a:ext>
            </a:extLst>
          </p:cNvPr>
          <p:cNvSpPr>
            <a:spLocks noEditPoints="1"/>
          </p:cNvSpPr>
          <p:nvPr/>
        </p:nvSpPr>
        <p:spPr bwMode="auto">
          <a:xfrm>
            <a:off x="1493838" y="2048669"/>
            <a:ext cx="623888" cy="2384425"/>
          </a:xfrm>
          <a:custGeom>
            <a:avLst/>
            <a:gdLst>
              <a:gd name="T0" fmla="*/ 16 w 2094"/>
              <a:gd name="T1" fmla="*/ 256 h 8005"/>
              <a:gd name="T2" fmla="*/ 16 w 2094"/>
              <a:gd name="T3" fmla="*/ 0 h 8005"/>
              <a:gd name="T4" fmla="*/ 32 w 2094"/>
              <a:gd name="T5" fmla="*/ 624 h 8005"/>
              <a:gd name="T6" fmla="*/ 0 w 2094"/>
              <a:gd name="T7" fmla="*/ 400 h 8005"/>
              <a:gd name="T8" fmla="*/ 32 w 2094"/>
              <a:gd name="T9" fmla="*/ 784 h 8005"/>
              <a:gd name="T10" fmla="*/ 0 w 2094"/>
              <a:gd name="T11" fmla="*/ 1008 h 8005"/>
              <a:gd name="T12" fmla="*/ 32 w 2094"/>
              <a:gd name="T13" fmla="*/ 784 h 8005"/>
              <a:gd name="T14" fmla="*/ 16 w 2094"/>
              <a:gd name="T15" fmla="*/ 1408 h 8005"/>
              <a:gd name="T16" fmla="*/ 16 w 2094"/>
              <a:gd name="T17" fmla="*/ 1152 h 8005"/>
              <a:gd name="T18" fmla="*/ 32 w 2094"/>
              <a:gd name="T19" fmla="*/ 1776 h 8005"/>
              <a:gd name="T20" fmla="*/ 0 w 2094"/>
              <a:gd name="T21" fmla="*/ 1552 h 8005"/>
              <a:gd name="T22" fmla="*/ 32 w 2094"/>
              <a:gd name="T23" fmla="*/ 1936 h 8005"/>
              <a:gd name="T24" fmla="*/ 0 w 2094"/>
              <a:gd name="T25" fmla="*/ 2160 h 8005"/>
              <a:gd name="T26" fmla="*/ 32 w 2094"/>
              <a:gd name="T27" fmla="*/ 1936 h 8005"/>
              <a:gd name="T28" fmla="*/ 16 w 2094"/>
              <a:gd name="T29" fmla="*/ 2560 h 8005"/>
              <a:gd name="T30" fmla="*/ 16 w 2094"/>
              <a:gd name="T31" fmla="*/ 2304 h 8005"/>
              <a:gd name="T32" fmla="*/ 32 w 2094"/>
              <a:gd name="T33" fmla="*/ 2928 h 8005"/>
              <a:gd name="T34" fmla="*/ 0 w 2094"/>
              <a:gd name="T35" fmla="*/ 2704 h 8005"/>
              <a:gd name="T36" fmla="*/ 32 w 2094"/>
              <a:gd name="T37" fmla="*/ 3088 h 8005"/>
              <a:gd name="T38" fmla="*/ 0 w 2094"/>
              <a:gd name="T39" fmla="*/ 3312 h 8005"/>
              <a:gd name="T40" fmla="*/ 32 w 2094"/>
              <a:gd name="T41" fmla="*/ 3088 h 8005"/>
              <a:gd name="T42" fmla="*/ 16 w 2094"/>
              <a:gd name="T43" fmla="*/ 3712 h 8005"/>
              <a:gd name="T44" fmla="*/ 16 w 2094"/>
              <a:gd name="T45" fmla="*/ 3456 h 8005"/>
              <a:gd name="T46" fmla="*/ 32 w 2094"/>
              <a:gd name="T47" fmla="*/ 4080 h 8005"/>
              <a:gd name="T48" fmla="*/ 0 w 2094"/>
              <a:gd name="T49" fmla="*/ 3856 h 8005"/>
              <a:gd name="T50" fmla="*/ 32 w 2094"/>
              <a:gd name="T51" fmla="*/ 4240 h 8005"/>
              <a:gd name="T52" fmla="*/ 0 w 2094"/>
              <a:gd name="T53" fmla="*/ 4464 h 8005"/>
              <a:gd name="T54" fmla="*/ 32 w 2094"/>
              <a:gd name="T55" fmla="*/ 4240 h 8005"/>
              <a:gd name="T56" fmla="*/ 16 w 2094"/>
              <a:gd name="T57" fmla="*/ 4864 h 8005"/>
              <a:gd name="T58" fmla="*/ 16 w 2094"/>
              <a:gd name="T59" fmla="*/ 4608 h 8005"/>
              <a:gd name="T60" fmla="*/ 32 w 2094"/>
              <a:gd name="T61" fmla="*/ 5232 h 8005"/>
              <a:gd name="T62" fmla="*/ 0 w 2094"/>
              <a:gd name="T63" fmla="*/ 5008 h 8005"/>
              <a:gd name="T64" fmla="*/ 32 w 2094"/>
              <a:gd name="T65" fmla="*/ 5392 h 8005"/>
              <a:gd name="T66" fmla="*/ 0 w 2094"/>
              <a:gd name="T67" fmla="*/ 5616 h 8005"/>
              <a:gd name="T68" fmla="*/ 32 w 2094"/>
              <a:gd name="T69" fmla="*/ 5392 h 8005"/>
              <a:gd name="T70" fmla="*/ 16 w 2094"/>
              <a:gd name="T71" fmla="*/ 6016 h 8005"/>
              <a:gd name="T72" fmla="*/ 16 w 2094"/>
              <a:gd name="T73" fmla="*/ 5760 h 8005"/>
              <a:gd name="T74" fmla="*/ 32 w 2094"/>
              <a:gd name="T75" fmla="*/ 6384 h 8005"/>
              <a:gd name="T76" fmla="*/ 0 w 2094"/>
              <a:gd name="T77" fmla="*/ 6160 h 8005"/>
              <a:gd name="T78" fmla="*/ 32 w 2094"/>
              <a:gd name="T79" fmla="*/ 6544 h 8005"/>
              <a:gd name="T80" fmla="*/ 0 w 2094"/>
              <a:gd name="T81" fmla="*/ 6768 h 8005"/>
              <a:gd name="T82" fmla="*/ 32 w 2094"/>
              <a:gd name="T83" fmla="*/ 6544 h 8005"/>
              <a:gd name="T84" fmla="*/ 16 w 2094"/>
              <a:gd name="T85" fmla="*/ 7168 h 8005"/>
              <a:gd name="T86" fmla="*/ 16 w 2094"/>
              <a:gd name="T87" fmla="*/ 6912 h 8005"/>
              <a:gd name="T88" fmla="*/ 32 w 2094"/>
              <a:gd name="T89" fmla="*/ 7536 h 8005"/>
              <a:gd name="T90" fmla="*/ 0 w 2094"/>
              <a:gd name="T91" fmla="*/ 7312 h 8005"/>
              <a:gd name="T92" fmla="*/ 32 w 2094"/>
              <a:gd name="T93" fmla="*/ 7696 h 8005"/>
              <a:gd name="T94" fmla="*/ 0 w 2094"/>
              <a:gd name="T95" fmla="*/ 7920 h 8005"/>
              <a:gd name="T96" fmla="*/ 32 w 2094"/>
              <a:gd name="T97" fmla="*/ 7696 h 8005"/>
              <a:gd name="T98" fmla="*/ 348 w 2094"/>
              <a:gd name="T99" fmla="*/ 7989 h 8005"/>
              <a:gd name="T100" fmla="*/ 92 w 2094"/>
              <a:gd name="T101" fmla="*/ 7989 h 8005"/>
              <a:gd name="T102" fmla="*/ 716 w 2094"/>
              <a:gd name="T103" fmla="*/ 7973 h 8005"/>
              <a:gd name="T104" fmla="*/ 492 w 2094"/>
              <a:gd name="T105" fmla="*/ 8005 h 8005"/>
              <a:gd name="T106" fmla="*/ 876 w 2094"/>
              <a:gd name="T107" fmla="*/ 7973 h 8005"/>
              <a:gd name="T108" fmla="*/ 1100 w 2094"/>
              <a:gd name="T109" fmla="*/ 8005 h 8005"/>
              <a:gd name="T110" fmla="*/ 876 w 2094"/>
              <a:gd name="T111" fmla="*/ 7973 h 8005"/>
              <a:gd name="T112" fmla="*/ 1500 w 2094"/>
              <a:gd name="T113" fmla="*/ 7989 h 8005"/>
              <a:gd name="T114" fmla="*/ 1244 w 2094"/>
              <a:gd name="T115" fmla="*/ 7989 h 8005"/>
              <a:gd name="T116" fmla="*/ 1868 w 2094"/>
              <a:gd name="T117" fmla="*/ 7973 h 8005"/>
              <a:gd name="T118" fmla="*/ 1644 w 2094"/>
              <a:gd name="T119" fmla="*/ 8005 h 8005"/>
              <a:gd name="T120" fmla="*/ 2028 w 2094"/>
              <a:gd name="T121" fmla="*/ 7973 h 8005"/>
              <a:gd name="T122" fmla="*/ 2078 w 2094"/>
              <a:gd name="T123" fmla="*/ 8005 h 8005"/>
              <a:gd name="T124" fmla="*/ 2028 w 2094"/>
              <a:gd name="T125" fmla="*/ 7973 h 8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5">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3"/>
                </a:moveTo>
                <a:lnTo>
                  <a:pt x="332" y="7973"/>
                </a:lnTo>
                <a:cubicBezTo>
                  <a:pt x="341" y="7973"/>
                  <a:pt x="348" y="7980"/>
                  <a:pt x="348" y="7989"/>
                </a:cubicBezTo>
                <a:cubicBezTo>
                  <a:pt x="348" y="7998"/>
                  <a:pt x="341" y="8005"/>
                  <a:pt x="332" y="8005"/>
                </a:cubicBezTo>
                <a:lnTo>
                  <a:pt x="108" y="8005"/>
                </a:lnTo>
                <a:cubicBezTo>
                  <a:pt x="99" y="8005"/>
                  <a:pt x="92" y="7998"/>
                  <a:pt x="92" y="7989"/>
                </a:cubicBezTo>
                <a:cubicBezTo>
                  <a:pt x="92" y="7980"/>
                  <a:pt x="99" y="7973"/>
                  <a:pt x="108" y="7973"/>
                </a:cubicBezTo>
                <a:close/>
                <a:moveTo>
                  <a:pt x="492" y="7973"/>
                </a:moveTo>
                <a:lnTo>
                  <a:pt x="716" y="7973"/>
                </a:lnTo>
                <a:cubicBezTo>
                  <a:pt x="725" y="7973"/>
                  <a:pt x="732" y="7980"/>
                  <a:pt x="732" y="7989"/>
                </a:cubicBezTo>
                <a:cubicBezTo>
                  <a:pt x="732" y="7998"/>
                  <a:pt x="725" y="8005"/>
                  <a:pt x="716" y="8005"/>
                </a:cubicBezTo>
                <a:lnTo>
                  <a:pt x="492" y="8005"/>
                </a:lnTo>
                <a:cubicBezTo>
                  <a:pt x="483" y="8005"/>
                  <a:pt x="476" y="7998"/>
                  <a:pt x="476" y="7989"/>
                </a:cubicBezTo>
                <a:cubicBezTo>
                  <a:pt x="476" y="7980"/>
                  <a:pt x="483" y="7973"/>
                  <a:pt x="492" y="7973"/>
                </a:cubicBezTo>
                <a:close/>
                <a:moveTo>
                  <a:pt x="876" y="7973"/>
                </a:moveTo>
                <a:lnTo>
                  <a:pt x="1100" y="7973"/>
                </a:lnTo>
                <a:cubicBezTo>
                  <a:pt x="1109" y="7973"/>
                  <a:pt x="1116" y="7980"/>
                  <a:pt x="1116" y="7989"/>
                </a:cubicBezTo>
                <a:cubicBezTo>
                  <a:pt x="1116" y="7998"/>
                  <a:pt x="1109" y="8005"/>
                  <a:pt x="1100" y="8005"/>
                </a:cubicBezTo>
                <a:lnTo>
                  <a:pt x="876" y="8005"/>
                </a:lnTo>
                <a:cubicBezTo>
                  <a:pt x="867" y="8005"/>
                  <a:pt x="860" y="7998"/>
                  <a:pt x="860" y="7989"/>
                </a:cubicBezTo>
                <a:cubicBezTo>
                  <a:pt x="860" y="7980"/>
                  <a:pt x="867" y="7973"/>
                  <a:pt x="876" y="7973"/>
                </a:cubicBezTo>
                <a:close/>
                <a:moveTo>
                  <a:pt x="1260" y="7973"/>
                </a:moveTo>
                <a:lnTo>
                  <a:pt x="1484" y="7973"/>
                </a:lnTo>
                <a:cubicBezTo>
                  <a:pt x="1493" y="7973"/>
                  <a:pt x="1500" y="7980"/>
                  <a:pt x="1500" y="7989"/>
                </a:cubicBezTo>
                <a:cubicBezTo>
                  <a:pt x="1500" y="7998"/>
                  <a:pt x="1493" y="8005"/>
                  <a:pt x="1484" y="8005"/>
                </a:cubicBezTo>
                <a:lnTo>
                  <a:pt x="1260" y="8005"/>
                </a:lnTo>
                <a:cubicBezTo>
                  <a:pt x="1251" y="8005"/>
                  <a:pt x="1244" y="7998"/>
                  <a:pt x="1244" y="7989"/>
                </a:cubicBezTo>
                <a:cubicBezTo>
                  <a:pt x="1244" y="7980"/>
                  <a:pt x="1251" y="7973"/>
                  <a:pt x="1260" y="7973"/>
                </a:cubicBezTo>
                <a:close/>
                <a:moveTo>
                  <a:pt x="1644" y="7973"/>
                </a:moveTo>
                <a:lnTo>
                  <a:pt x="1868" y="7973"/>
                </a:lnTo>
                <a:cubicBezTo>
                  <a:pt x="1877" y="7973"/>
                  <a:pt x="1884" y="7980"/>
                  <a:pt x="1884" y="7989"/>
                </a:cubicBezTo>
                <a:cubicBezTo>
                  <a:pt x="1884" y="7998"/>
                  <a:pt x="1877" y="8005"/>
                  <a:pt x="1868" y="8005"/>
                </a:cubicBezTo>
                <a:lnTo>
                  <a:pt x="1644" y="8005"/>
                </a:lnTo>
                <a:cubicBezTo>
                  <a:pt x="1635" y="8005"/>
                  <a:pt x="1628" y="7998"/>
                  <a:pt x="1628" y="7989"/>
                </a:cubicBezTo>
                <a:cubicBezTo>
                  <a:pt x="1628" y="7980"/>
                  <a:pt x="1635" y="7973"/>
                  <a:pt x="1644" y="7973"/>
                </a:cubicBezTo>
                <a:close/>
                <a:moveTo>
                  <a:pt x="2028" y="7973"/>
                </a:moveTo>
                <a:lnTo>
                  <a:pt x="2078" y="7973"/>
                </a:lnTo>
                <a:cubicBezTo>
                  <a:pt x="2087" y="7973"/>
                  <a:pt x="2094" y="7980"/>
                  <a:pt x="2094" y="7989"/>
                </a:cubicBezTo>
                <a:cubicBezTo>
                  <a:pt x="2094" y="7998"/>
                  <a:pt x="2087" y="8005"/>
                  <a:pt x="2078" y="8005"/>
                </a:cubicBezTo>
                <a:lnTo>
                  <a:pt x="2028" y="8005"/>
                </a:lnTo>
                <a:cubicBezTo>
                  <a:pt x="2019" y="8005"/>
                  <a:pt x="2012" y="7998"/>
                  <a:pt x="2012" y="7989"/>
                </a:cubicBezTo>
                <a:cubicBezTo>
                  <a:pt x="2012" y="7980"/>
                  <a:pt x="2019" y="7973"/>
                  <a:pt x="2028" y="7973"/>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115">
            <a:extLst>
              <a:ext uri="{FF2B5EF4-FFF2-40B4-BE49-F238E27FC236}">
                <a16:creationId xmlns:a16="http://schemas.microsoft.com/office/drawing/2014/main" id="{71ABD8C1-1C14-4077-8FC2-A20F0318BD34}"/>
              </a:ext>
            </a:extLst>
          </p:cNvPr>
          <p:cNvSpPr>
            <a:spLocks/>
          </p:cNvSpPr>
          <p:nvPr/>
        </p:nvSpPr>
        <p:spPr bwMode="auto">
          <a:xfrm>
            <a:off x="2092326" y="4387056"/>
            <a:ext cx="84138"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124">
            <a:extLst>
              <a:ext uri="{FF2B5EF4-FFF2-40B4-BE49-F238E27FC236}">
                <a16:creationId xmlns:a16="http://schemas.microsoft.com/office/drawing/2014/main" id="{C54956FF-AB3C-414A-B7DC-C1BAD53DA9AC}"/>
              </a:ext>
            </a:extLst>
          </p:cNvPr>
          <p:cNvSpPr>
            <a:spLocks noChangeArrowheads="1"/>
          </p:cNvSpPr>
          <p:nvPr/>
        </p:nvSpPr>
        <p:spPr bwMode="auto">
          <a:xfrm>
            <a:off x="1662113" y="3712369"/>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1" name="Rectangle 127">
            <a:extLst>
              <a:ext uri="{FF2B5EF4-FFF2-40B4-BE49-F238E27FC236}">
                <a16:creationId xmlns:a16="http://schemas.microsoft.com/office/drawing/2014/main" id="{D0A9FE9A-1056-45BB-8C20-08CBBAA90FEA}"/>
              </a:ext>
            </a:extLst>
          </p:cNvPr>
          <p:cNvSpPr>
            <a:spLocks noChangeArrowheads="1"/>
          </p:cNvSpPr>
          <p:nvPr/>
        </p:nvSpPr>
        <p:spPr bwMode="auto">
          <a:xfrm>
            <a:off x="1549401" y="4285456"/>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gener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3" name="Freeform 129">
            <a:extLst>
              <a:ext uri="{FF2B5EF4-FFF2-40B4-BE49-F238E27FC236}">
                <a16:creationId xmlns:a16="http://schemas.microsoft.com/office/drawing/2014/main" id="{AE249F36-8AEA-4867-8AD5-C81B2F42EA85}"/>
              </a:ext>
            </a:extLst>
          </p:cNvPr>
          <p:cNvSpPr>
            <a:spLocks/>
          </p:cNvSpPr>
          <p:nvPr/>
        </p:nvSpPr>
        <p:spPr bwMode="auto">
          <a:xfrm>
            <a:off x="8820151" y="3250406"/>
            <a:ext cx="963613"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130">
            <a:extLst>
              <a:ext uri="{FF2B5EF4-FFF2-40B4-BE49-F238E27FC236}">
                <a16:creationId xmlns:a16="http://schemas.microsoft.com/office/drawing/2014/main" id="{04665B3F-622E-4D3D-98EC-957CB21E1E8D}"/>
              </a:ext>
            </a:extLst>
          </p:cNvPr>
          <p:cNvSpPr>
            <a:spLocks/>
          </p:cNvSpPr>
          <p:nvPr/>
        </p:nvSpPr>
        <p:spPr bwMode="auto">
          <a:xfrm>
            <a:off x="8820151" y="3250406"/>
            <a:ext cx="963613"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5" name="Rectangle 131">
            <a:extLst>
              <a:ext uri="{FF2B5EF4-FFF2-40B4-BE49-F238E27FC236}">
                <a16:creationId xmlns:a16="http://schemas.microsoft.com/office/drawing/2014/main" id="{1207EF3C-44C4-434D-8751-F7A67BD21400}"/>
              </a:ext>
            </a:extLst>
          </p:cNvPr>
          <p:cNvSpPr>
            <a:spLocks noChangeArrowheads="1"/>
          </p:cNvSpPr>
          <p:nvPr/>
        </p:nvSpPr>
        <p:spPr bwMode="auto">
          <a:xfrm>
            <a:off x="8940801" y="3272631"/>
            <a:ext cx="8588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Overexposu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6" name="Rectangle 132">
            <a:extLst>
              <a:ext uri="{FF2B5EF4-FFF2-40B4-BE49-F238E27FC236}">
                <a16:creationId xmlns:a16="http://schemas.microsoft.com/office/drawing/2014/main" id="{B0E72678-A439-49A0-84CE-E31EED6B6E7D}"/>
              </a:ext>
            </a:extLst>
          </p:cNvPr>
          <p:cNvSpPr>
            <a:spLocks noChangeArrowheads="1"/>
          </p:cNvSpPr>
          <p:nvPr/>
        </p:nvSpPr>
        <p:spPr bwMode="auto">
          <a:xfrm>
            <a:off x="9110663" y="3425031"/>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9" name="Freeform 135">
            <a:extLst>
              <a:ext uri="{FF2B5EF4-FFF2-40B4-BE49-F238E27FC236}">
                <a16:creationId xmlns:a16="http://schemas.microsoft.com/office/drawing/2014/main" id="{162C669F-68C1-4C1D-BC0B-3BEC192704A0}"/>
              </a:ext>
            </a:extLst>
          </p:cNvPr>
          <p:cNvSpPr>
            <a:spLocks/>
          </p:cNvSpPr>
          <p:nvPr/>
        </p:nvSpPr>
        <p:spPr bwMode="auto">
          <a:xfrm>
            <a:off x="8820151" y="4396581"/>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136">
            <a:extLst>
              <a:ext uri="{FF2B5EF4-FFF2-40B4-BE49-F238E27FC236}">
                <a16:creationId xmlns:a16="http://schemas.microsoft.com/office/drawing/2014/main" id="{A89F552E-0FBF-45C3-AEB1-8C8265F12D8E}"/>
              </a:ext>
            </a:extLst>
          </p:cNvPr>
          <p:cNvSpPr>
            <a:spLocks/>
          </p:cNvSpPr>
          <p:nvPr/>
        </p:nvSpPr>
        <p:spPr bwMode="auto">
          <a:xfrm>
            <a:off x="8820151" y="4396581"/>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1" name="Rectangle 137">
            <a:extLst>
              <a:ext uri="{FF2B5EF4-FFF2-40B4-BE49-F238E27FC236}">
                <a16:creationId xmlns:a16="http://schemas.microsoft.com/office/drawing/2014/main" id="{5DDA465B-E0E9-4724-B7DD-CA13D2CB2533}"/>
              </a:ext>
            </a:extLst>
          </p:cNvPr>
          <p:cNvSpPr>
            <a:spLocks noChangeArrowheads="1"/>
          </p:cNvSpPr>
          <p:nvPr/>
        </p:nvSpPr>
        <p:spPr bwMode="auto">
          <a:xfrm>
            <a:off x="9088438" y="4417219"/>
            <a:ext cx="5397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Transf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2" name="Rectangle 138">
            <a:extLst>
              <a:ext uri="{FF2B5EF4-FFF2-40B4-BE49-F238E27FC236}">
                <a16:creationId xmlns:a16="http://schemas.microsoft.com/office/drawing/2014/main" id="{242765DF-0DA1-4745-A472-6BD998B4FE67}"/>
              </a:ext>
            </a:extLst>
          </p:cNvPr>
          <p:cNvSpPr>
            <a:spLocks noChangeArrowheads="1"/>
          </p:cNvSpPr>
          <p:nvPr/>
        </p:nvSpPr>
        <p:spPr bwMode="auto">
          <a:xfrm>
            <a:off x="9110663" y="4568031"/>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4" name="Freeform 140">
            <a:extLst>
              <a:ext uri="{FF2B5EF4-FFF2-40B4-BE49-F238E27FC236}">
                <a16:creationId xmlns:a16="http://schemas.microsoft.com/office/drawing/2014/main" id="{F687ADDC-BDAC-4BCE-9E5F-7754C8E4FF36}"/>
              </a:ext>
            </a:extLst>
          </p:cNvPr>
          <p:cNvSpPr>
            <a:spLocks/>
          </p:cNvSpPr>
          <p:nvPr/>
        </p:nvSpPr>
        <p:spPr bwMode="auto">
          <a:xfrm>
            <a:off x="8820151" y="3829844"/>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141">
            <a:extLst>
              <a:ext uri="{FF2B5EF4-FFF2-40B4-BE49-F238E27FC236}">
                <a16:creationId xmlns:a16="http://schemas.microsoft.com/office/drawing/2014/main" id="{DFFD730F-80E2-4FF9-ADD5-213719CE12DB}"/>
              </a:ext>
            </a:extLst>
          </p:cNvPr>
          <p:cNvSpPr>
            <a:spLocks/>
          </p:cNvSpPr>
          <p:nvPr/>
        </p:nvSpPr>
        <p:spPr bwMode="auto">
          <a:xfrm>
            <a:off x="8820151" y="3829844"/>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Rectangle 142">
            <a:extLst>
              <a:ext uri="{FF2B5EF4-FFF2-40B4-BE49-F238E27FC236}">
                <a16:creationId xmlns:a16="http://schemas.microsoft.com/office/drawing/2014/main" id="{63E33718-EFAC-4B2D-8D8F-1DD5909CB947}"/>
              </a:ext>
            </a:extLst>
          </p:cNvPr>
          <p:cNvSpPr>
            <a:spLocks noChangeArrowheads="1"/>
          </p:cNvSpPr>
          <p:nvPr/>
        </p:nvSpPr>
        <p:spPr bwMode="auto">
          <a:xfrm>
            <a:off x="8963026" y="3852069"/>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Minimiza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7" name="Rectangle 143">
            <a:extLst>
              <a:ext uri="{FF2B5EF4-FFF2-40B4-BE49-F238E27FC236}">
                <a16:creationId xmlns:a16="http://schemas.microsoft.com/office/drawing/2014/main" id="{C491557B-7A0C-400D-8D0F-6847C2692C9A}"/>
              </a:ext>
            </a:extLst>
          </p:cNvPr>
          <p:cNvSpPr>
            <a:spLocks noChangeArrowheads="1"/>
          </p:cNvSpPr>
          <p:nvPr/>
        </p:nvSpPr>
        <p:spPr bwMode="auto">
          <a:xfrm>
            <a:off x="9110663" y="4004469"/>
            <a:ext cx="490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8" name="Freeform 144">
            <a:extLst>
              <a:ext uri="{FF2B5EF4-FFF2-40B4-BE49-F238E27FC236}">
                <a16:creationId xmlns:a16="http://schemas.microsoft.com/office/drawing/2014/main" id="{B0182FB2-3184-4F72-BBB8-7CF66853FC33}"/>
              </a:ext>
            </a:extLst>
          </p:cNvPr>
          <p:cNvSpPr>
            <a:spLocks/>
          </p:cNvSpPr>
          <p:nvPr/>
        </p:nvSpPr>
        <p:spPr bwMode="auto">
          <a:xfrm>
            <a:off x="7231063" y="446484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145">
            <a:extLst>
              <a:ext uri="{FF2B5EF4-FFF2-40B4-BE49-F238E27FC236}">
                <a16:creationId xmlns:a16="http://schemas.microsoft.com/office/drawing/2014/main" id="{03BA1E78-4C9A-40AE-81DB-E95C59A281E5}"/>
              </a:ext>
            </a:extLst>
          </p:cNvPr>
          <p:cNvSpPr>
            <a:spLocks/>
          </p:cNvSpPr>
          <p:nvPr/>
        </p:nvSpPr>
        <p:spPr bwMode="auto">
          <a:xfrm>
            <a:off x="7231063" y="4464844"/>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0" name="Rectangle 146">
            <a:extLst>
              <a:ext uri="{FF2B5EF4-FFF2-40B4-BE49-F238E27FC236}">
                <a16:creationId xmlns:a16="http://schemas.microsoft.com/office/drawing/2014/main" id="{FFABDF54-707F-418F-A243-F1FC667DFE77}"/>
              </a:ext>
            </a:extLst>
          </p:cNvPr>
          <p:cNvSpPr>
            <a:spLocks noChangeArrowheads="1"/>
          </p:cNvSpPr>
          <p:nvPr/>
        </p:nvSpPr>
        <p:spPr bwMode="auto">
          <a:xfrm>
            <a:off x="7483476" y="4483894"/>
            <a:ext cx="5762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Match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1" name="Rectangle 147">
            <a:extLst>
              <a:ext uri="{FF2B5EF4-FFF2-40B4-BE49-F238E27FC236}">
                <a16:creationId xmlns:a16="http://schemas.microsoft.com/office/drawing/2014/main" id="{F5E741F1-F5B7-4A52-ACEB-B77DD46C794E}"/>
              </a:ext>
            </a:extLst>
          </p:cNvPr>
          <p:cNvSpPr>
            <a:spLocks noChangeArrowheads="1"/>
          </p:cNvSpPr>
          <p:nvPr/>
        </p:nvSpPr>
        <p:spPr bwMode="auto">
          <a:xfrm>
            <a:off x="7570788" y="4639469"/>
            <a:ext cx="3857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Ite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1" name="Freeform 187">
            <a:extLst>
              <a:ext uri="{FF2B5EF4-FFF2-40B4-BE49-F238E27FC236}">
                <a16:creationId xmlns:a16="http://schemas.microsoft.com/office/drawing/2014/main" id="{19010B40-DEB2-4E62-A8D4-7CF16A0A2A06}"/>
              </a:ext>
            </a:extLst>
          </p:cNvPr>
          <p:cNvSpPr>
            <a:spLocks/>
          </p:cNvSpPr>
          <p:nvPr/>
        </p:nvSpPr>
        <p:spPr bwMode="auto">
          <a:xfrm>
            <a:off x="2298701" y="2467769"/>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7"/>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188">
            <a:extLst>
              <a:ext uri="{FF2B5EF4-FFF2-40B4-BE49-F238E27FC236}">
                <a16:creationId xmlns:a16="http://schemas.microsoft.com/office/drawing/2014/main" id="{0DBFFE01-DEB2-4C6F-A698-CD58B8A3A77E}"/>
              </a:ext>
            </a:extLst>
          </p:cNvPr>
          <p:cNvSpPr>
            <a:spLocks/>
          </p:cNvSpPr>
          <p:nvPr/>
        </p:nvSpPr>
        <p:spPr bwMode="auto">
          <a:xfrm>
            <a:off x="2270126" y="2596356"/>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189">
            <a:extLst>
              <a:ext uri="{FF2B5EF4-FFF2-40B4-BE49-F238E27FC236}">
                <a16:creationId xmlns:a16="http://schemas.microsoft.com/office/drawing/2014/main" id="{3027776B-CD65-4434-900B-A4F70C221A83}"/>
              </a:ext>
            </a:extLst>
          </p:cNvPr>
          <p:cNvSpPr>
            <a:spLocks/>
          </p:cNvSpPr>
          <p:nvPr/>
        </p:nvSpPr>
        <p:spPr bwMode="auto">
          <a:xfrm>
            <a:off x="2176463" y="2624931"/>
            <a:ext cx="80963"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6"/>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190">
            <a:extLst>
              <a:ext uri="{FF2B5EF4-FFF2-40B4-BE49-F238E27FC236}">
                <a16:creationId xmlns:a16="http://schemas.microsoft.com/office/drawing/2014/main" id="{6888422A-0387-42BD-BC87-E7452463C04F}"/>
              </a:ext>
            </a:extLst>
          </p:cNvPr>
          <p:cNvSpPr>
            <a:spLocks/>
          </p:cNvSpPr>
          <p:nvPr/>
        </p:nvSpPr>
        <p:spPr bwMode="auto">
          <a:xfrm>
            <a:off x="2190751" y="2524919"/>
            <a:ext cx="85725" cy="85725"/>
          </a:xfrm>
          <a:custGeom>
            <a:avLst/>
            <a:gdLst>
              <a:gd name="T0" fmla="*/ 144 w 288"/>
              <a:gd name="T1" fmla="*/ 0 h 289"/>
              <a:gd name="T2" fmla="*/ 0 w 288"/>
              <a:gd name="T3" fmla="*/ 144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4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5"/>
                  <a:pt x="0" y="144"/>
                </a:cubicBezTo>
                <a:cubicBezTo>
                  <a:pt x="0" y="189"/>
                  <a:pt x="20" y="228"/>
                  <a:pt x="51" y="255"/>
                </a:cubicBezTo>
                <a:cubicBezTo>
                  <a:pt x="74" y="275"/>
                  <a:pt x="103" y="286"/>
                  <a:pt x="135" y="289"/>
                </a:cubicBezTo>
                <a:cubicBezTo>
                  <a:pt x="137" y="289"/>
                  <a:pt x="139" y="289"/>
                  <a:pt x="144" y="289"/>
                </a:cubicBezTo>
                <a:cubicBezTo>
                  <a:pt x="146" y="289"/>
                  <a:pt x="148" y="289"/>
                  <a:pt x="153" y="289"/>
                </a:cubicBezTo>
                <a:cubicBezTo>
                  <a:pt x="185" y="286"/>
                  <a:pt x="214" y="275"/>
                  <a:pt x="236" y="255"/>
                </a:cubicBezTo>
                <a:cubicBezTo>
                  <a:pt x="268" y="228"/>
                  <a:pt x="288" y="189"/>
                  <a:pt x="288" y="144"/>
                </a:cubicBezTo>
                <a:cubicBezTo>
                  <a:pt x="288" y="65"/>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191">
            <a:extLst>
              <a:ext uri="{FF2B5EF4-FFF2-40B4-BE49-F238E27FC236}">
                <a16:creationId xmlns:a16="http://schemas.microsoft.com/office/drawing/2014/main" id="{14CAFF78-E369-4726-8864-5EC7C817F74C}"/>
              </a:ext>
            </a:extLst>
          </p:cNvPr>
          <p:cNvSpPr>
            <a:spLocks noChangeArrowheads="1"/>
          </p:cNvSpPr>
          <p:nvPr/>
        </p:nvSpPr>
        <p:spPr bwMode="auto">
          <a:xfrm>
            <a:off x="2506663" y="2436019"/>
            <a:ext cx="35718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6" name="Rectangle 192">
            <a:extLst>
              <a:ext uri="{FF2B5EF4-FFF2-40B4-BE49-F238E27FC236}">
                <a16:creationId xmlns:a16="http://schemas.microsoft.com/office/drawing/2014/main" id="{029DED4B-13FD-4DA3-91AC-17FF4C1779E4}"/>
              </a:ext>
            </a:extLst>
          </p:cNvPr>
          <p:cNvSpPr>
            <a:spLocks noChangeArrowheads="1"/>
          </p:cNvSpPr>
          <p:nvPr/>
        </p:nvSpPr>
        <p:spPr bwMode="auto">
          <a:xfrm>
            <a:off x="2506663" y="2588419"/>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Subje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7" name="Freeform 193">
            <a:extLst>
              <a:ext uri="{FF2B5EF4-FFF2-40B4-BE49-F238E27FC236}">
                <a16:creationId xmlns:a16="http://schemas.microsoft.com/office/drawing/2014/main" id="{D66EE337-376A-47F4-ABCD-3789186BDC0C}"/>
              </a:ext>
            </a:extLst>
          </p:cNvPr>
          <p:cNvSpPr>
            <a:spLocks/>
          </p:cNvSpPr>
          <p:nvPr/>
        </p:nvSpPr>
        <p:spPr bwMode="auto">
          <a:xfrm>
            <a:off x="1498601" y="2053431"/>
            <a:ext cx="571500" cy="557213"/>
          </a:xfrm>
          <a:custGeom>
            <a:avLst/>
            <a:gdLst>
              <a:gd name="T0" fmla="*/ 0 w 360"/>
              <a:gd name="T1" fmla="*/ 0 h 351"/>
              <a:gd name="T2" fmla="*/ 0 w 360"/>
              <a:gd name="T3" fmla="*/ 351 h 351"/>
              <a:gd name="T4" fmla="*/ 360 w 360"/>
              <a:gd name="T5" fmla="*/ 351 h 351"/>
            </a:gdLst>
            <a:ahLst/>
            <a:cxnLst>
              <a:cxn ang="0">
                <a:pos x="T0" y="T1"/>
              </a:cxn>
              <a:cxn ang="0">
                <a:pos x="T2" y="T3"/>
              </a:cxn>
              <a:cxn ang="0">
                <a:pos x="T4" y="T5"/>
              </a:cxn>
            </a:cxnLst>
            <a:rect l="0" t="0" r="r" b="b"/>
            <a:pathLst>
              <a:path w="360" h="351">
                <a:moveTo>
                  <a:pt x="0" y="0"/>
                </a:moveTo>
                <a:lnTo>
                  <a:pt x="0" y="351"/>
                </a:lnTo>
                <a:lnTo>
                  <a:pt x="360" y="35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4">
            <a:extLst>
              <a:ext uri="{FF2B5EF4-FFF2-40B4-BE49-F238E27FC236}">
                <a16:creationId xmlns:a16="http://schemas.microsoft.com/office/drawing/2014/main" id="{F4484A7F-14F9-4A16-AD8E-C5F94FDF5234}"/>
              </a:ext>
            </a:extLst>
          </p:cNvPr>
          <p:cNvSpPr>
            <a:spLocks/>
          </p:cNvSpPr>
          <p:nvPr/>
        </p:nvSpPr>
        <p:spPr bwMode="auto">
          <a:xfrm>
            <a:off x="2049463" y="2569369"/>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195">
            <a:extLst>
              <a:ext uri="{FF2B5EF4-FFF2-40B4-BE49-F238E27FC236}">
                <a16:creationId xmlns:a16="http://schemas.microsoft.com/office/drawing/2014/main" id="{A2D018D2-FF8F-4E39-87C7-1BF190947BCA}"/>
              </a:ext>
            </a:extLst>
          </p:cNvPr>
          <p:cNvSpPr>
            <a:spLocks/>
          </p:cNvSpPr>
          <p:nvPr/>
        </p:nvSpPr>
        <p:spPr bwMode="auto">
          <a:xfrm>
            <a:off x="8054976" y="1666081"/>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196">
            <a:extLst>
              <a:ext uri="{FF2B5EF4-FFF2-40B4-BE49-F238E27FC236}">
                <a16:creationId xmlns:a16="http://schemas.microsoft.com/office/drawing/2014/main" id="{AD3288C9-8277-4AD9-92D6-002A46316021}"/>
              </a:ext>
            </a:extLst>
          </p:cNvPr>
          <p:cNvSpPr>
            <a:spLocks/>
          </p:cNvSpPr>
          <p:nvPr/>
        </p:nvSpPr>
        <p:spPr bwMode="auto">
          <a:xfrm>
            <a:off x="8054976" y="1666081"/>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1" name="Rectangle 197">
            <a:extLst>
              <a:ext uri="{FF2B5EF4-FFF2-40B4-BE49-F238E27FC236}">
                <a16:creationId xmlns:a16="http://schemas.microsoft.com/office/drawing/2014/main" id="{2567C783-6B02-4A44-AEE2-77EBA92EF8C1}"/>
              </a:ext>
            </a:extLst>
          </p:cNvPr>
          <p:cNvSpPr>
            <a:spLocks noChangeArrowheads="1"/>
          </p:cNvSpPr>
          <p:nvPr/>
        </p:nvSpPr>
        <p:spPr bwMode="auto">
          <a:xfrm>
            <a:off x="8388351" y="1764506"/>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Ale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2" name="Freeform 198">
            <a:extLst>
              <a:ext uri="{FF2B5EF4-FFF2-40B4-BE49-F238E27FC236}">
                <a16:creationId xmlns:a16="http://schemas.microsoft.com/office/drawing/2014/main" id="{CEB5CECE-365D-47AA-B7A8-6686B00AE37A}"/>
              </a:ext>
            </a:extLst>
          </p:cNvPr>
          <p:cNvSpPr>
            <a:spLocks/>
          </p:cNvSpPr>
          <p:nvPr/>
        </p:nvSpPr>
        <p:spPr bwMode="auto">
          <a:xfrm>
            <a:off x="9780588" y="1667354"/>
            <a:ext cx="962025"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99">
            <a:extLst>
              <a:ext uri="{FF2B5EF4-FFF2-40B4-BE49-F238E27FC236}">
                <a16:creationId xmlns:a16="http://schemas.microsoft.com/office/drawing/2014/main" id="{1035983E-9F75-46E7-8B32-FB6A01684DAB}"/>
              </a:ext>
            </a:extLst>
          </p:cNvPr>
          <p:cNvSpPr>
            <a:spLocks/>
          </p:cNvSpPr>
          <p:nvPr/>
        </p:nvSpPr>
        <p:spPr bwMode="auto">
          <a:xfrm>
            <a:off x="9780588" y="1667669"/>
            <a:ext cx="962025"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4" name="Rectangle 200">
            <a:extLst>
              <a:ext uri="{FF2B5EF4-FFF2-40B4-BE49-F238E27FC236}">
                <a16:creationId xmlns:a16="http://schemas.microsoft.com/office/drawing/2014/main" id="{04CED5B0-A41F-46A6-BE60-F5AEF6137281}"/>
              </a:ext>
            </a:extLst>
          </p:cNvPr>
          <p:cNvSpPr>
            <a:spLocks noChangeArrowheads="1"/>
          </p:cNvSpPr>
          <p:nvPr/>
        </p:nvSpPr>
        <p:spPr bwMode="auto">
          <a:xfrm>
            <a:off x="10109201" y="1764506"/>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Issu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5" name="Freeform 201">
            <a:extLst>
              <a:ext uri="{FF2B5EF4-FFF2-40B4-BE49-F238E27FC236}">
                <a16:creationId xmlns:a16="http://schemas.microsoft.com/office/drawing/2014/main" id="{EA41B266-A95A-42EC-A0DA-BF8770E4AEF6}"/>
              </a:ext>
            </a:extLst>
          </p:cNvPr>
          <p:cNvSpPr>
            <a:spLocks noEditPoints="1"/>
          </p:cNvSpPr>
          <p:nvPr/>
        </p:nvSpPr>
        <p:spPr bwMode="auto">
          <a:xfrm>
            <a:off x="9012238" y="1842294"/>
            <a:ext cx="709613"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7"/>
                  <a:pt x="256" y="16"/>
                </a:cubicBezTo>
                <a:cubicBezTo>
                  <a:pt x="256" y="25"/>
                  <a:pt x="249" y="32"/>
                  <a:pt x="240" y="32"/>
                </a:cubicBezTo>
                <a:lnTo>
                  <a:pt x="16" y="32"/>
                </a:lnTo>
                <a:cubicBezTo>
                  <a:pt x="8" y="32"/>
                  <a:pt x="0" y="25"/>
                  <a:pt x="0" y="16"/>
                </a:cubicBezTo>
                <a:cubicBezTo>
                  <a:pt x="0" y="7"/>
                  <a:pt x="8" y="0"/>
                  <a:pt x="16" y="0"/>
                </a:cubicBezTo>
                <a:close/>
                <a:moveTo>
                  <a:pt x="400" y="0"/>
                </a:moveTo>
                <a:lnTo>
                  <a:pt x="624" y="0"/>
                </a:lnTo>
                <a:cubicBezTo>
                  <a:pt x="633" y="0"/>
                  <a:pt x="640" y="7"/>
                  <a:pt x="640" y="16"/>
                </a:cubicBezTo>
                <a:cubicBezTo>
                  <a:pt x="640" y="25"/>
                  <a:pt x="633" y="32"/>
                  <a:pt x="624" y="32"/>
                </a:cubicBezTo>
                <a:lnTo>
                  <a:pt x="400" y="32"/>
                </a:lnTo>
                <a:cubicBezTo>
                  <a:pt x="392" y="32"/>
                  <a:pt x="384" y="25"/>
                  <a:pt x="384" y="16"/>
                </a:cubicBezTo>
                <a:cubicBezTo>
                  <a:pt x="384" y="7"/>
                  <a:pt x="392" y="0"/>
                  <a:pt x="400" y="0"/>
                </a:cubicBezTo>
                <a:close/>
                <a:moveTo>
                  <a:pt x="784" y="0"/>
                </a:moveTo>
                <a:lnTo>
                  <a:pt x="1008" y="0"/>
                </a:lnTo>
                <a:cubicBezTo>
                  <a:pt x="1017" y="0"/>
                  <a:pt x="1024" y="7"/>
                  <a:pt x="1024" y="16"/>
                </a:cubicBezTo>
                <a:cubicBezTo>
                  <a:pt x="1024" y="25"/>
                  <a:pt x="1017" y="32"/>
                  <a:pt x="1008" y="32"/>
                </a:cubicBezTo>
                <a:lnTo>
                  <a:pt x="784" y="32"/>
                </a:lnTo>
                <a:cubicBezTo>
                  <a:pt x="776" y="32"/>
                  <a:pt x="768" y="25"/>
                  <a:pt x="768" y="16"/>
                </a:cubicBezTo>
                <a:cubicBezTo>
                  <a:pt x="768" y="7"/>
                  <a:pt x="776" y="0"/>
                  <a:pt x="784" y="0"/>
                </a:cubicBezTo>
                <a:close/>
                <a:moveTo>
                  <a:pt x="1168" y="0"/>
                </a:moveTo>
                <a:lnTo>
                  <a:pt x="1392" y="0"/>
                </a:lnTo>
                <a:cubicBezTo>
                  <a:pt x="1401" y="0"/>
                  <a:pt x="1408" y="7"/>
                  <a:pt x="1408" y="16"/>
                </a:cubicBezTo>
                <a:cubicBezTo>
                  <a:pt x="1408" y="25"/>
                  <a:pt x="1401" y="32"/>
                  <a:pt x="1392" y="32"/>
                </a:cubicBezTo>
                <a:lnTo>
                  <a:pt x="1168" y="32"/>
                </a:lnTo>
                <a:cubicBezTo>
                  <a:pt x="1160" y="32"/>
                  <a:pt x="1152" y="25"/>
                  <a:pt x="1152" y="16"/>
                </a:cubicBezTo>
                <a:cubicBezTo>
                  <a:pt x="1152" y="7"/>
                  <a:pt x="1160" y="0"/>
                  <a:pt x="1168" y="0"/>
                </a:cubicBezTo>
                <a:close/>
                <a:moveTo>
                  <a:pt x="1552" y="0"/>
                </a:moveTo>
                <a:lnTo>
                  <a:pt x="1776" y="0"/>
                </a:lnTo>
                <a:cubicBezTo>
                  <a:pt x="1785" y="0"/>
                  <a:pt x="1792" y="7"/>
                  <a:pt x="1792" y="16"/>
                </a:cubicBezTo>
                <a:cubicBezTo>
                  <a:pt x="1792" y="25"/>
                  <a:pt x="1785" y="32"/>
                  <a:pt x="1776" y="32"/>
                </a:cubicBezTo>
                <a:lnTo>
                  <a:pt x="1552" y="32"/>
                </a:lnTo>
                <a:cubicBezTo>
                  <a:pt x="1544" y="32"/>
                  <a:pt x="1536" y="25"/>
                  <a:pt x="1536" y="16"/>
                </a:cubicBezTo>
                <a:cubicBezTo>
                  <a:pt x="1536" y="7"/>
                  <a:pt x="1544" y="0"/>
                  <a:pt x="1552" y="0"/>
                </a:cubicBezTo>
                <a:close/>
                <a:moveTo>
                  <a:pt x="1936" y="0"/>
                </a:moveTo>
                <a:lnTo>
                  <a:pt x="2160" y="0"/>
                </a:lnTo>
                <a:cubicBezTo>
                  <a:pt x="2169" y="0"/>
                  <a:pt x="2176" y="7"/>
                  <a:pt x="2176" y="16"/>
                </a:cubicBezTo>
                <a:cubicBezTo>
                  <a:pt x="2176" y="25"/>
                  <a:pt x="2169" y="32"/>
                  <a:pt x="2160" y="32"/>
                </a:cubicBezTo>
                <a:lnTo>
                  <a:pt x="1936" y="32"/>
                </a:lnTo>
                <a:cubicBezTo>
                  <a:pt x="1928" y="32"/>
                  <a:pt x="1920" y="25"/>
                  <a:pt x="1920" y="16"/>
                </a:cubicBezTo>
                <a:cubicBezTo>
                  <a:pt x="1920" y="7"/>
                  <a:pt x="1928" y="0"/>
                  <a:pt x="1936" y="0"/>
                </a:cubicBezTo>
                <a:close/>
                <a:moveTo>
                  <a:pt x="2320" y="0"/>
                </a:moveTo>
                <a:lnTo>
                  <a:pt x="2367" y="0"/>
                </a:lnTo>
                <a:cubicBezTo>
                  <a:pt x="2376" y="0"/>
                  <a:pt x="2383" y="7"/>
                  <a:pt x="2383" y="16"/>
                </a:cubicBezTo>
                <a:cubicBezTo>
                  <a:pt x="2383" y="25"/>
                  <a:pt x="2376" y="32"/>
                  <a:pt x="2367" y="32"/>
                </a:cubicBezTo>
                <a:lnTo>
                  <a:pt x="2320" y="32"/>
                </a:lnTo>
                <a:cubicBezTo>
                  <a:pt x="2312" y="32"/>
                  <a:pt x="2304" y="25"/>
                  <a:pt x="2304" y="16"/>
                </a:cubicBezTo>
                <a:cubicBezTo>
                  <a:pt x="2304" y="7"/>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202">
            <a:extLst>
              <a:ext uri="{FF2B5EF4-FFF2-40B4-BE49-F238E27FC236}">
                <a16:creationId xmlns:a16="http://schemas.microsoft.com/office/drawing/2014/main" id="{5C5F9546-E78D-484C-9694-E47DB820538E}"/>
              </a:ext>
            </a:extLst>
          </p:cNvPr>
          <p:cNvSpPr>
            <a:spLocks/>
          </p:cNvSpPr>
          <p:nvPr/>
        </p:nvSpPr>
        <p:spPr bwMode="auto">
          <a:xfrm>
            <a:off x="9698038" y="1805781"/>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Rectangle 203">
            <a:extLst>
              <a:ext uri="{FF2B5EF4-FFF2-40B4-BE49-F238E27FC236}">
                <a16:creationId xmlns:a16="http://schemas.microsoft.com/office/drawing/2014/main" id="{69A6F952-87AA-4D5F-8992-BF74B9C00997}"/>
              </a:ext>
            </a:extLst>
          </p:cNvPr>
          <p:cNvSpPr>
            <a:spLocks noChangeArrowheads="1"/>
          </p:cNvSpPr>
          <p:nvPr/>
        </p:nvSpPr>
        <p:spPr bwMode="auto">
          <a:xfrm>
            <a:off x="7508876" y="1697831"/>
            <a:ext cx="430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gener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8" name="Rectangle 204">
            <a:extLst>
              <a:ext uri="{FF2B5EF4-FFF2-40B4-BE49-F238E27FC236}">
                <a16:creationId xmlns:a16="http://schemas.microsoft.com/office/drawing/2014/main" id="{E4648435-6240-471C-AD63-621BFA268B18}"/>
              </a:ext>
            </a:extLst>
          </p:cNvPr>
          <p:cNvSpPr>
            <a:spLocks noChangeArrowheads="1"/>
          </p:cNvSpPr>
          <p:nvPr/>
        </p:nvSpPr>
        <p:spPr bwMode="auto">
          <a:xfrm>
            <a:off x="9148763" y="1710531"/>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confirm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206">
            <a:extLst>
              <a:ext uri="{FF2B5EF4-FFF2-40B4-BE49-F238E27FC236}">
                <a16:creationId xmlns:a16="http://schemas.microsoft.com/office/drawing/2014/main" id="{70183D8D-C75C-41A9-86A6-CB849119FEA1}"/>
              </a:ext>
            </a:extLst>
          </p:cNvPr>
          <p:cNvSpPr>
            <a:spLocks noChangeArrowheads="1"/>
          </p:cNvSpPr>
          <p:nvPr/>
        </p:nvSpPr>
        <p:spPr bwMode="auto">
          <a:xfrm>
            <a:off x="9278938" y="1822450"/>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int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Freeform 207">
            <a:extLst>
              <a:ext uri="{FF2B5EF4-FFF2-40B4-BE49-F238E27FC236}">
                <a16:creationId xmlns:a16="http://schemas.microsoft.com/office/drawing/2014/main" id="{F27CD67E-F00F-4497-B976-B0EE7B0BC39F}"/>
              </a:ext>
            </a:extLst>
          </p:cNvPr>
          <p:cNvSpPr>
            <a:spLocks noEditPoints="1"/>
          </p:cNvSpPr>
          <p:nvPr/>
        </p:nvSpPr>
        <p:spPr bwMode="auto">
          <a:xfrm>
            <a:off x="7367588" y="1835150"/>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moveTo>
                  <a:pt x="1552" y="0"/>
                </a:moveTo>
                <a:lnTo>
                  <a:pt x="1776" y="0"/>
                </a:lnTo>
                <a:cubicBezTo>
                  <a:pt x="1785" y="0"/>
                  <a:pt x="1792" y="7"/>
                  <a:pt x="1792" y="16"/>
                </a:cubicBezTo>
                <a:cubicBezTo>
                  <a:pt x="1792" y="25"/>
                  <a:pt x="1785" y="32"/>
                  <a:pt x="1776" y="32"/>
                </a:cubicBezTo>
                <a:lnTo>
                  <a:pt x="1552" y="32"/>
                </a:lnTo>
                <a:cubicBezTo>
                  <a:pt x="1543" y="32"/>
                  <a:pt x="1536" y="25"/>
                  <a:pt x="1536" y="16"/>
                </a:cubicBezTo>
                <a:cubicBezTo>
                  <a:pt x="1536" y="7"/>
                  <a:pt x="1543" y="0"/>
                  <a:pt x="1552" y="0"/>
                </a:cubicBezTo>
                <a:close/>
                <a:moveTo>
                  <a:pt x="1936" y="0"/>
                </a:moveTo>
                <a:lnTo>
                  <a:pt x="2081" y="0"/>
                </a:lnTo>
                <a:cubicBezTo>
                  <a:pt x="2090" y="0"/>
                  <a:pt x="2097" y="7"/>
                  <a:pt x="2097" y="16"/>
                </a:cubicBezTo>
                <a:cubicBezTo>
                  <a:pt x="2097" y="25"/>
                  <a:pt x="2090" y="32"/>
                  <a:pt x="2081" y="32"/>
                </a:cubicBezTo>
                <a:lnTo>
                  <a:pt x="1936" y="32"/>
                </a:lnTo>
                <a:cubicBezTo>
                  <a:pt x="1927" y="32"/>
                  <a:pt x="1920" y="25"/>
                  <a:pt x="1920" y="16"/>
                </a:cubicBezTo>
                <a:cubicBezTo>
                  <a:pt x="1920" y="7"/>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08">
            <a:extLst>
              <a:ext uri="{FF2B5EF4-FFF2-40B4-BE49-F238E27FC236}">
                <a16:creationId xmlns:a16="http://schemas.microsoft.com/office/drawing/2014/main" id="{A18E870B-E29E-4F02-8793-B7B14DF830E9}"/>
              </a:ext>
            </a:extLst>
          </p:cNvPr>
          <p:cNvSpPr>
            <a:spLocks/>
          </p:cNvSpPr>
          <p:nvPr/>
        </p:nvSpPr>
        <p:spPr bwMode="auto">
          <a:xfrm>
            <a:off x="7967663" y="1798638"/>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09">
            <a:extLst>
              <a:ext uri="{FF2B5EF4-FFF2-40B4-BE49-F238E27FC236}">
                <a16:creationId xmlns:a16="http://schemas.microsoft.com/office/drawing/2014/main" id="{BABEEC1E-C28C-4FEA-813A-3B84E9F55AE3}"/>
              </a:ext>
            </a:extLst>
          </p:cNvPr>
          <p:cNvSpPr>
            <a:spLocks/>
          </p:cNvSpPr>
          <p:nvPr/>
        </p:nvSpPr>
        <p:spPr bwMode="auto">
          <a:xfrm>
            <a:off x="6891338" y="2022475"/>
            <a:ext cx="271463" cy="2616200"/>
          </a:xfrm>
          <a:custGeom>
            <a:avLst/>
            <a:gdLst>
              <a:gd name="T0" fmla="*/ 0 w 171"/>
              <a:gd name="T1" fmla="*/ 0 h 1648"/>
              <a:gd name="T2" fmla="*/ 0 w 171"/>
              <a:gd name="T3" fmla="*/ 1648 h 1648"/>
              <a:gd name="T4" fmla="*/ 171 w 171"/>
              <a:gd name="T5" fmla="*/ 1648 h 1648"/>
            </a:gdLst>
            <a:ahLst/>
            <a:cxnLst>
              <a:cxn ang="0">
                <a:pos x="T0" y="T1"/>
              </a:cxn>
              <a:cxn ang="0">
                <a:pos x="T2" y="T3"/>
              </a:cxn>
              <a:cxn ang="0">
                <a:pos x="T4" y="T5"/>
              </a:cxn>
            </a:cxnLst>
            <a:rect l="0" t="0" r="r" b="b"/>
            <a:pathLst>
              <a:path w="171" h="1648">
                <a:moveTo>
                  <a:pt x="0" y="0"/>
                </a:moveTo>
                <a:lnTo>
                  <a:pt x="0" y="1648"/>
                </a:lnTo>
                <a:lnTo>
                  <a:pt x="171" y="1648"/>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210">
            <a:extLst>
              <a:ext uri="{FF2B5EF4-FFF2-40B4-BE49-F238E27FC236}">
                <a16:creationId xmlns:a16="http://schemas.microsoft.com/office/drawing/2014/main" id="{10B3BBE1-3F83-42C5-B450-2C3BF9519166}"/>
              </a:ext>
            </a:extLst>
          </p:cNvPr>
          <p:cNvSpPr>
            <a:spLocks/>
          </p:cNvSpPr>
          <p:nvPr/>
        </p:nvSpPr>
        <p:spPr bwMode="auto">
          <a:xfrm>
            <a:off x="7143751" y="4597400"/>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7"/>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11">
            <a:extLst>
              <a:ext uri="{FF2B5EF4-FFF2-40B4-BE49-F238E27FC236}">
                <a16:creationId xmlns:a16="http://schemas.microsoft.com/office/drawing/2014/main" id="{61F6E7CB-C5C1-4122-8B38-B088931220B0}"/>
              </a:ext>
            </a:extLst>
          </p:cNvPr>
          <p:cNvSpPr>
            <a:spLocks/>
          </p:cNvSpPr>
          <p:nvPr/>
        </p:nvSpPr>
        <p:spPr bwMode="auto">
          <a:xfrm>
            <a:off x="7226301" y="275590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12">
            <a:extLst>
              <a:ext uri="{FF2B5EF4-FFF2-40B4-BE49-F238E27FC236}">
                <a16:creationId xmlns:a16="http://schemas.microsoft.com/office/drawing/2014/main" id="{70BDF08B-0BD3-466B-8268-2A311C8AC9C2}"/>
              </a:ext>
            </a:extLst>
          </p:cNvPr>
          <p:cNvSpPr>
            <a:spLocks/>
          </p:cNvSpPr>
          <p:nvPr/>
        </p:nvSpPr>
        <p:spPr bwMode="auto">
          <a:xfrm>
            <a:off x="7226301" y="275590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3">
            <a:extLst>
              <a:ext uri="{FF2B5EF4-FFF2-40B4-BE49-F238E27FC236}">
                <a16:creationId xmlns:a16="http://schemas.microsoft.com/office/drawing/2014/main" id="{9E4D9E77-7E66-4798-988F-A7052351077C}"/>
              </a:ext>
            </a:extLst>
          </p:cNvPr>
          <p:cNvSpPr>
            <a:spLocks noChangeArrowheads="1"/>
          </p:cNvSpPr>
          <p:nvPr/>
        </p:nvSpPr>
        <p:spPr bwMode="auto">
          <a:xfrm>
            <a:off x="7554913" y="285273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Freeform 218">
            <a:extLst>
              <a:ext uri="{FF2B5EF4-FFF2-40B4-BE49-F238E27FC236}">
                <a16:creationId xmlns:a16="http://schemas.microsoft.com/office/drawing/2014/main" id="{C0EAD1AC-A946-441F-AAD1-E8888C550FEE}"/>
              </a:ext>
            </a:extLst>
          </p:cNvPr>
          <p:cNvSpPr>
            <a:spLocks/>
          </p:cNvSpPr>
          <p:nvPr/>
        </p:nvSpPr>
        <p:spPr bwMode="auto">
          <a:xfrm>
            <a:off x="6891338" y="2022475"/>
            <a:ext cx="271463" cy="914400"/>
          </a:xfrm>
          <a:custGeom>
            <a:avLst/>
            <a:gdLst>
              <a:gd name="T0" fmla="*/ 0 w 171"/>
              <a:gd name="T1" fmla="*/ 0 h 576"/>
              <a:gd name="T2" fmla="*/ 0 w 171"/>
              <a:gd name="T3" fmla="*/ 576 h 576"/>
              <a:gd name="T4" fmla="*/ 171 w 171"/>
              <a:gd name="T5" fmla="*/ 576 h 576"/>
            </a:gdLst>
            <a:ahLst/>
            <a:cxnLst>
              <a:cxn ang="0">
                <a:pos x="T0" y="T1"/>
              </a:cxn>
              <a:cxn ang="0">
                <a:pos x="T2" y="T3"/>
              </a:cxn>
              <a:cxn ang="0">
                <a:pos x="T4" y="T5"/>
              </a:cxn>
            </a:cxnLst>
            <a:rect l="0" t="0" r="r" b="b"/>
            <a:pathLst>
              <a:path w="171" h="576">
                <a:moveTo>
                  <a:pt x="0" y="0"/>
                </a:moveTo>
                <a:lnTo>
                  <a:pt x="0" y="576"/>
                </a:lnTo>
                <a:lnTo>
                  <a:pt x="171" y="576"/>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219">
            <a:extLst>
              <a:ext uri="{FF2B5EF4-FFF2-40B4-BE49-F238E27FC236}">
                <a16:creationId xmlns:a16="http://schemas.microsoft.com/office/drawing/2014/main" id="{154795FE-4236-46D9-BE0C-AAFC7F7E5D60}"/>
              </a:ext>
            </a:extLst>
          </p:cNvPr>
          <p:cNvSpPr>
            <a:spLocks/>
          </p:cNvSpPr>
          <p:nvPr/>
        </p:nvSpPr>
        <p:spPr bwMode="auto">
          <a:xfrm>
            <a:off x="7143751" y="2895600"/>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32">
            <a:extLst>
              <a:ext uri="{FF2B5EF4-FFF2-40B4-BE49-F238E27FC236}">
                <a16:creationId xmlns:a16="http://schemas.microsoft.com/office/drawing/2014/main" id="{73AD51C6-4AE4-4241-8B79-F009FA21A778}"/>
              </a:ext>
            </a:extLst>
          </p:cNvPr>
          <p:cNvSpPr>
            <a:spLocks/>
          </p:cNvSpPr>
          <p:nvPr/>
        </p:nvSpPr>
        <p:spPr bwMode="auto">
          <a:xfrm>
            <a:off x="7224713" y="3536950"/>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33">
            <a:extLst>
              <a:ext uri="{FF2B5EF4-FFF2-40B4-BE49-F238E27FC236}">
                <a16:creationId xmlns:a16="http://schemas.microsoft.com/office/drawing/2014/main" id="{ED262CF7-3FE3-484D-B87E-9923A18B2AFE}"/>
              </a:ext>
            </a:extLst>
          </p:cNvPr>
          <p:cNvSpPr>
            <a:spLocks/>
          </p:cNvSpPr>
          <p:nvPr/>
        </p:nvSpPr>
        <p:spPr bwMode="auto">
          <a:xfrm>
            <a:off x="7224713" y="3536950"/>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Rectangle 234">
            <a:extLst>
              <a:ext uri="{FF2B5EF4-FFF2-40B4-BE49-F238E27FC236}">
                <a16:creationId xmlns:a16="http://schemas.microsoft.com/office/drawing/2014/main" id="{20D2BC6B-9771-4914-98EC-E25FEABBB68C}"/>
              </a:ext>
            </a:extLst>
          </p:cNvPr>
          <p:cNvSpPr>
            <a:spLocks noChangeArrowheads="1"/>
          </p:cNvSpPr>
          <p:nvPr/>
        </p:nvSpPr>
        <p:spPr bwMode="auto">
          <a:xfrm>
            <a:off x="7431088" y="3635375"/>
            <a:ext cx="6715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di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Freeform 235">
            <a:extLst>
              <a:ext uri="{FF2B5EF4-FFF2-40B4-BE49-F238E27FC236}">
                <a16:creationId xmlns:a16="http://schemas.microsoft.com/office/drawing/2014/main" id="{9243DEC5-7ECE-4862-8022-4D7DB21CFE57}"/>
              </a:ext>
            </a:extLst>
          </p:cNvPr>
          <p:cNvSpPr>
            <a:spLocks/>
          </p:cNvSpPr>
          <p:nvPr/>
        </p:nvSpPr>
        <p:spPr bwMode="auto">
          <a:xfrm>
            <a:off x="6891338" y="2022475"/>
            <a:ext cx="269875" cy="1695450"/>
          </a:xfrm>
          <a:custGeom>
            <a:avLst/>
            <a:gdLst>
              <a:gd name="T0" fmla="*/ 0 w 170"/>
              <a:gd name="T1" fmla="*/ 0 h 1068"/>
              <a:gd name="T2" fmla="*/ 0 w 170"/>
              <a:gd name="T3" fmla="*/ 1068 h 1068"/>
              <a:gd name="T4" fmla="*/ 170 w 170"/>
              <a:gd name="T5" fmla="*/ 1068 h 1068"/>
            </a:gdLst>
            <a:ahLst/>
            <a:cxnLst>
              <a:cxn ang="0">
                <a:pos x="T0" y="T1"/>
              </a:cxn>
              <a:cxn ang="0">
                <a:pos x="T2" y="T3"/>
              </a:cxn>
              <a:cxn ang="0">
                <a:pos x="T4" y="T5"/>
              </a:cxn>
            </a:cxnLst>
            <a:rect l="0" t="0" r="r" b="b"/>
            <a:pathLst>
              <a:path w="170" h="1068">
                <a:moveTo>
                  <a:pt x="0" y="0"/>
                </a:moveTo>
                <a:lnTo>
                  <a:pt x="0" y="1068"/>
                </a:lnTo>
                <a:lnTo>
                  <a:pt x="170" y="1068"/>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36">
            <a:extLst>
              <a:ext uri="{FF2B5EF4-FFF2-40B4-BE49-F238E27FC236}">
                <a16:creationId xmlns:a16="http://schemas.microsoft.com/office/drawing/2014/main" id="{D22201CD-13FC-4809-8033-135DCC2ED802}"/>
              </a:ext>
            </a:extLst>
          </p:cNvPr>
          <p:cNvSpPr>
            <a:spLocks/>
          </p:cNvSpPr>
          <p:nvPr/>
        </p:nvSpPr>
        <p:spPr bwMode="auto">
          <a:xfrm>
            <a:off x="7140576" y="3676650"/>
            <a:ext cx="84138"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261">
            <a:extLst>
              <a:ext uri="{FF2B5EF4-FFF2-40B4-BE49-F238E27FC236}">
                <a16:creationId xmlns:a16="http://schemas.microsoft.com/office/drawing/2014/main" id="{7D04DB2D-2897-4C0C-8AB8-732B2D5AE96F}"/>
              </a:ext>
            </a:extLst>
          </p:cNvPr>
          <p:cNvSpPr>
            <a:spLocks/>
          </p:cNvSpPr>
          <p:nvPr/>
        </p:nvSpPr>
        <p:spPr bwMode="auto">
          <a:xfrm>
            <a:off x="3824288" y="167005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262">
            <a:extLst>
              <a:ext uri="{FF2B5EF4-FFF2-40B4-BE49-F238E27FC236}">
                <a16:creationId xmlns:a16="http://schemas.microsoft.com/office/drawing/2014/main" id="{5F89E991-CBF8-4415-9566-988FAF264D32}"/>
              </a:ext>
            </a:extLst>
          </p:cNvPr>
          <p:cNvSpPr>
            <a:spLocks/>
          </p:cNvSpPr>
          <p:nvPr/>
        </p:nvSpPr>
        <p:spPr bwMode="auto">
          <a:xfrm>
            <a:off x="3824288" y="1670050"/>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Rectangle 263">
            <a:extLst>
              <a:ext uri="{FF2B5EF4-FFF2-40B4-BE49-F238E27FC236}">
                <a16:creationId xmlns:a16="http://schemas.microsoft.com/office/drawing/2014/main" id="{C85230A1-3654-4494-BE1F-879E109495A8}"/>
              </a:ext>
            </a:extLst>
          </p:cNvPr>
          <p:cNvSpPr>
            <a:spLocks noChangeArrowheads="1"/>
          </p:cNvSpPr>
          <p:nvPr/>
        </p:nvSpPr>
        <p:spPr bwMode="auto">
          <a:xfrm>
            <a:off x="3976688" y="1690688"/>
            <a:ext cx="823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Organiza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9" name="Rectangle 264">
            <a:extLst>
              <a:ext uri="{FF2B5EF4-FFF2-40B4-BE49-F238E27FC236}">
                <a16:creationId xmlns:a16="http://schemas.microsoft.com/office/drawing/2014/main" id="{795E18C7-3D61-435A-A024-EC18AE1240B9}"/>
              </a:ext>
            </a:extLst>
          </p:cNvPr>
          <p:cNvSpPr>
            <a:spLocks noChangeArrowheads="1"/>
          </p:cNvSpPr>
          <p:nvPr/>
        </p:nvSpPr>
        <p:spPr bwMode="auto">
          <a:xfrm>
            <a:off x="4003676" y="1841500"/>
            <a:ext cx="733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Data Pro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0" name="Rectangle 265">
            <a:extLst>
              <a:ext uri="{FF2B5EF4-FFF2-40B4-BE49-F238E27FC236}">
                <a16:creationId xmlns:a16="http://schemas.microsoft.com/office/drawing/2014/main" id="{9D80E311-5511-4EA3-A33F-CBE681D117AA}"/>
              </a:ext>
            </a:extLst>
          </p:cNvPr>
          <p:cNvSpPr>
            <a:spLocks noChangeArrowheads="1"/>
          </p:cNvSpPr>
          <p:nvPr/>
        </p:nvSpPr>
        <p:spPr bwMode="auto">
          <a:xfrm>
            <a:off x="4344988" y="2032000"/>
            <a:ext cx="5810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1" name="Rectangle 266">
            <a:extLst>
              <a:ext uri="{FF2B5EF4-FFF2-40B4-BE49-F238E27FC236}">
                <a16:creationId xmlns:a16="http://schemas.microsoft.com/office/drawing/2014/main" id="{5E2FEF79-2DEE-4353-B82E-C0E42BE45094}"/>
              </a:ext>
            </a:extLst>
          </p:cNvPr>
          <p:cNvSpPr>
            <a:spLocks noChangeArrowheads="1"/>
          </p:cNvSpPr>
          <p:nvPr/>
        </p:nvSpPr>
        <p:spPr bwMode="auto">
          <a:xfrm>
            <a:off x="4344988" y="2154238"/>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data ty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2" name="Rectangle 267">
            <a:extLst>
              <a:ext uri="{FF2B5EF4-FFF2-40B4-BE49-F238E27FC236}">
                <a16:creationId xmlns:a16="http://schemas.microsoft.com/office/drawing/2014/main" id="{399EF630-5F7F-45DD-8023-870A40D09D41}"/>
              </a:ext>
            </a:extLst>
          </p:cNvPr>
          <p:cNvSpPr>
            <a:spLocks noChangeArrowheads="1"/>
          </p:cNvSpPr>
          <p:nvPr/>
        </p:nvSpPr>
        <p:spPr bwMode="auto">
          <a:xfrm>
            <a:off x="4344988" y="2276475"/>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y countr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3" name="Line 268">
            <a:extLst>
              <a:ext uri="{FF2B5EF4-FFF2-40B4-BE49-F238E27FC236}">
                <a16:creationId xmlns:a16="http://schemas.microsoft.com/office/drawing/2014/main" id="{8FCE0336-2FED-4713-BBF2-9CD8739079B1}"/>
              </a:ext>
            </a:extLst>
          </p:cNvPr>
          <p:cNvSpPr>
            <a:spLocks noChangeShapeType="1"/>
          </p:cNvSpPr>
          <p:nvPr/>
        </p:nvSpPr>
        <p:spPr bwMode="auto">
          <a:xfrm flipH="1">
            <a:off x="4306888" y="620713"/>
            <a:ext cx="1588"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Freeform 269">
            <a:extLst>
              <a:ext uri="{FF2B5EF4-FFF2-40B4-BE49-F238E27FC236}">
                <a16:creationId xmlns:a16="http://schemas.microsoft.com/office/drawing/2014/main" id="{93B51482-1C85-47C7-8F33-4DE1EABFCEDE}"/>
              </a:ext>
            </a:extLst>
          </p:cNvPr>
          <p:cNvSpPr>
            <a:spLocks/>
          </p:cNvSpPr>
          <p:nvPr/>
        </p:nvSpPr>
        <p:spPr bwMode="auto">
          <a:xfrm>
            <a:off x="4264026" y="1587500"/>
            <a:ext cx="84138" cy="82550"/>
          </a:xfrm>
          <a:custGeom>
            <a:avLst/>
            <a:gdLst>
              <a:gd name="T0" fmla="*/ 139 w 279"/>
              <a:gd name="T1" fmla="*/ 279 h 279"/>
              <a:gd name="T2" fmla="*/ 0 w 279"/>
              <a:gd name="T3" fmla="*/ 0 h 279"/>
              <a:gd name="T4" fmla="*/ 279 w 279"/>
              <a:gd name="T5" fmla="*/ 1 h 279"/>
              <a:gd name="T6" fmla="*/ 139 w 279"/>
              <a:gd name="T7" fmla="*/ 279 h 279"/>
            </a:gdLst>
            <a:ahLst/>
            <a:cxnLst>
              <a:cxn ang="0">
                <a:pos x="T0" y="T1"/>
              </a:cxn>
              <a:cxn ang="0">
                <a:pos x="T2" y="T3"/>
              </a:cxn>
              <a:cxn ang="0">
                <a:pos x="T4" y="T5"/>
              </a:cxn>
              <a:cxn ang="0">
                <a:pos x="T6" y="T7"/>
              </a:cxn>
            </a:cxnLst>
            <a:rect l="0" t="0" r="r" b="b"/>
            <a:pathLst>
              <a:path w="279" h="279">
                <a:moveTo>
                  <a:pt x="139" y="279"/>
                </a:moveTo>
                <a:lnTo>
                  <a:pt x="0" y="0"/>
                </a:lnTo>
                <a:cubicBezTo>
                  <a:pt x="88" y="44"/>
                  <a:pt x="191" y="44"/>
                  <a:pt x="279" y="1"/>
                </a:cubicBezTo>
                <a:lnTo>
                  <a:pt x="139"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270">
            <a:extLst>
              <a:ext uri="{FF2B5EF4-FFF2-40B4-BE49-F238E27FC236}">
                <a16:creationId xmlns:a16="http://schemas.microsoft.com/office/drawing/2014/main" id="{B1384D1C-46FB-440B-B7FD-19A332858AFE}"/>
              </a:ext>
            </a:extLst>
          </p:cNvPr>
          <p:cNvSpPr>
            <a:spLocks/>
          </p:cNvSpPr>
          <p:nvPr/>
        </p:nvSpPr>
        <p:spPr bwMode="auto">
          <a:xfrm>
            <a:off x="4986338" y="2413000"/>
            <a:ext cx="963613"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271">
            <a:extLst>
              <a:ext uri="{FF2B5EF4-FFF2-40B4-BE49-F238E27FC236}">
                <a16:creationId xmlns:a16="http://schemas.microsoft.com/office/drawing/2014/main" id="{82BF3850-4345-46DD-9D85-CBF7AF436D6F}"/>
              </a:ext>
            </a:extLst>
          </p:cNvPr>
          <p:cNvSpPr>
            <a:spLocks/>
          </p:cNvSpPr>
          <p:nvPr/>
        </p:nvSpPr>
        <p:spPr bwMode="auto">
          <a:xfrm>
            <a:off x="4986338" y="2413000"/>
            <a:ext cx="963613"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Rectangle 272">
            <a:extLst>
              <a:ext uri="{FF2B5EF4-FFF2-40B4-BE49-F238E27FC236}">
                <a16:creationId xmlns:a16="http://schemas.microsoft.com/office/drawing/2014/main" id="{D2E1F226-733E-49C1-95B3-29EB8193A6A7}"/>
              </a:ext>
            </a:extLst>
          </p:cNvPr>
          <p:cNvSpPr>
            <a:spLocks noChangeArrowheads="1"/>
          </p:cNvSpPr>
          <p:nvPr/>
        </p:nvSpPr>
        <p:spPr bwMode="auto">
          <a:xfrm>
            <a:off x="5262563" y="2433638"/>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8" name="Rectangle 273">
            <a:extLst>
              <a:ext uri="{FF2B5EF4-FFF2-40B4-BE49-F238E27FC236}">
                <a16:creationId xmlns:a16="http://schemas.microsoft.com/office/drawing/2014/main" id="{D332FED8-C73A-4A72-A97F-4C735FF8AACA}"/>
              </a:ext>
            </a:extLst>
          </p:cNvPr>
          <p:cNvSpPr>
            <a:spLocks noChangeArrowheads="1"/>
          </p:cNvSpPr>
          <p:nvPr/>
        </p:nvSpPr>
        <p:spPr bwMode="auto">
          <a:xfrm>
            <a:off x="5254626" y="2586038"/>
            <a:ext cx="5381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Explor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Freeform 274">
            <a:extLst>
              <a:ext uri="{FF2B5EF4-FFF2-40B4-BE49-F238E27FC236}">
                <a16:creationId xmlns:a16="http://schemas.microsoft.com/office/drawing/2014/main" id="{A7893B06-6714-4537-AD3F-0282F883CC2B}"/>
              </a:ext>
            </a:extLst>
          </p:cNvPr>
          <p:cNvSpPr>
            <a:spLocks noEditPoints="1"/>
          </p:cNvSpPr>
          <p:nvPr/>
        </p:nvSpPr>
        <p:spPr bwMode="auto">
          <a:xfrm>
            <a:off x="4300538" y="2027238"/>
            <a:ext cx="628650" cy="571500"/>
          </a:xfrm>
          <a:custGeom>
            <a:avLst/>
            <a:gdLst>
              <a:gd name="T0" fmla="*/ 32 w 2109"/>
              <a:gd name="T1" fmla="*/ 240 h 1917"/>
              <a:gd name="T2" fmla="*/ 0 w 2109"/>
              <a:gd name="T3" fmla="*/ 240 h 1917"/>
              <a:gd name="T4" fmla="*/ 16 w 2109"/>
              <a:gd name="T5" fmla="*/ 0 h 1917"/>
              <a:gd name="T6" fmla="*/ 32 w 2109"/>
              <a:gd name="T7" fmla="*/ 400 h 1917"/>
              <a:gd name="T8" fmla="*/ 16 w 2109"/>
              <a:gd name="T9" fmla="*/ 640 h 1917"/>
              <a:gd name="T10" fmla="*/ 0 w 2109"/>
              <a:gd name="T11" fmla="*/ 400 h 1917"/>
              <a:gd name="T12" fmla="*/ 32 w 2109"/>
              <a:gd name="T13" fmla="*/ 400 h 1917"/>
              <a:gd name="T14" fmla="*/ 32 w 2109"/>
              <a:gd name="T15" fmla="*/ 1008 h 1917"/>
              <a:gd name="T16" fmla="*/ 0 w 2109"/>
              <a:gd name="T17" fmla="*/ 1008 h 1917"/>
              <a:gd name="T18" fmla="*/ 16 w 2109"/>
              <a:gd name="T19" fmla="*/ 768 h 1917"/>
              <a:gd name="T20" fmla="*/ 32 w 2109"/>
              <a:gd name="T21" fmla="*/ 1168 h 1917"/>
              <a:gd name="T22" fmla="*/ 16 w 2109"/>
              <a:gd name="T23" fmla="*/ 1408 h 1917"/>
              <a:gd name="T24" fmla="*/ 0 w 2109"/>
              <a:gd name="T25" fmla="*/ 1168 h 1917"/>
              <a:gd name="T26" fmla="*/ 32 w 2109"/>
              <a:gd name="T27" fmla="*/ 1168 h 1917"/>
              <a:gd name="T28" fmla="*/ 32 w 2109"/>
              <a:gd name="T29" fmla="*/ 1776 h 1917"/>
              <a:gd name="T30" fmla="*/ 0 w 2109"/>
              <a:gd name="T31" fmla="*/ 1776 h 1917"/>
              <a:gd name="T32" fmla="*/ 16 w 2109"/>
              <a:gd name="T33" fmla="*/ 1536 h 1917"/>
              <a:gd name="T34" fmla="*/ 52 w 2109"/>
              <a:gd name="T35" fmla="*/ 1885 h 1917"/>
              <a:gd name="T36" fmla="*/ 292 w 2109"/>
              <a:gd name="T37" fmla="*/ 1901 h 1917"/>
              <a:gd name="T38" fmla="*/ 52 w 2109"/>
              <a:gd name="T39" fmla="*/ 1917 h 1917"/>
              <a:gd name="T40" fmla="*/ 52 w 2109"/>
              <a:gd name="T41" fmla="*/ 1885 h 1917"/>
              <a:gd name="T42" fmla="*/ 660 w 2109"/>
              <a:gd name="T43" fmla="*/ 1885 h 1917"/>
              <a:gd name="T44" fmla="*/ 660 w 2109"/>
              <a:gd name="T45" fmla="*/ 1917 h 1917"/>
              <a:gd name="T46" fmla="*/ 420 w 2109"/>
              <a:gd name="T47" fmla="*/ 1901 h 1917"/>
              <a:gd name="T48" fmla="*/ 820 w 2109"/>
              <a:gd name="T49" fmla="*/ 1885 h 1917"/>
              <a:gd name="T50" fmla="*/ 1060 w 2109"/>
              <a:gd name="T51" fmla="*/ 1901 h 1917"/>
              <a:gd name="T52" fmla="*/ 820 w 2109"/>
              <a:gd name="T53" fmla="*/ 1917 h 1917"/>
              <a:gd name="T54" fmla="*/ 820 w 2109"/>
              <a:gd name="T55" fmla="*/ 1885 h 1917"/>
              <a:gd name="T56" fmla="*/ 1428 w 2109"/>
              <a:gd name="T57" fmla="*/ 1885 h 1917"/>
              <a:gd name="T58" fmla="*/ 1428 w 2109"/>
              <a:gd name="T59" fmla="*/ 1917 h 1917"/>
              <a:gd name="T60" fmla="*/ 1188 w 2109"/>
              <a:gd name="T61" fmla="*/ 1901 h 1917"/>
              <a:gd name="T62" fmla="*/ 1588 w 2109"/>
              <a:gd name="T63" fmla="*/ 1885 h 1917"/>
              <a:gd name="T64" fmla="*/ 1828 w 2109"/>
              <a:gd name="T65" fmla="*/ 1901 h 1917"/>
              <a:gd name="T66" fmla="*/ 1588 w 2109"/>
              <a:gd name="T67" fmla="*/ 1917 h 1917"/>
              <a:gd name="T68" fmla="*/ 1588 w 2109"/>
              <a:gd name="T69" fmla="*/ 1885 h 1917"/>
              <a:gd name="T70" fmla="*/ 2093 w 2109"/>
              <a:gd name="T71" fmla="*/ 1885 h 1917"/>
              <a:gd name="T72" fmla="*/ 2093 w 2109"/>
              <a:gd name="T73" fmla="*/ 1917 h 1917"/>
              <a:gd name="T74" fmla="*/ 1956 w 2109"/>
              <a:gd name="T75" fmla="*/ 1901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7">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5"/>
                </a:moveTo>
                <a:lnTo>
                  <a:pt x="276" y="1885"/>
                </a:lnTo>
                <a:cubicBezTo>
                  <a:pt x="285" y="1885"/>
                  <a:pt x="292" y="1892"/>
                  <a:pt x="292" y="1901"/>
                </a:cubicBezTo>
                <a:cubicBezTo>
                  <a:pt x="292" y="1910"/>
                  <a:pt x="285" y="1917"/>
                  <a:pt x="276" y="1917"/>
                </a:cubicBezTo>
                <a:lnTo>
                  <a:pt x="52" y="1917"/>
                </a:lnTo>
                <a:cubicBezTo>
                  <a:pt x="43" y="1917"/>
                  <a:pt x="36" y="1910"/>
                  <a:pt x="36" y="1901"/>
                </a:cubicBezTo>
                <a:cubicBezTo>
                  <a:pt x="36" y="1892"/>
                  <a:pt x="43" y="1885"/>
                  <a:pt x="52" y="1885"/>
                </a:cubicBezTo>
                <a:close/>
                <a:moveTo>
                  <a:pt x="436" y="1885"/>
                </a:moveTo>
                <a:lnTo>
                  <a:pt x="660" y="1885"/>
                </a:lnTo>
                <a:cubicBezTo>
                  <a:pt x="669" y="1885"/>
                  <a:pt x="676" y="1892"/>
                  <a:pt x="676" y="1901"/>
                </a:cubicBezTo>
                <a:cubicBezTo>
                  <a:pt x="676" y="1910"/>
                  <a:pt x="669" y="1917"/>
                  <a:pt x="660" y="1917"/>
                </a:cubicBezTo>
                <a:lnTo>
                  <a:pt x="436" y="1917"/>
                </a:lnTo>
                <a:cubicBezTo>
                  <a:pt x="427" y="1917"/>
                  <a:pt x="420" y="1910"/>
                  <a:pt x="420" y="1901"/>
                </a:cubicBezTo>
                <a:cubicBezTo>
                  <a:pt x="420" y="1892"/>
                  <a:pt x="427" y="1885"/>
                  <a:pt x="436" y="1885"/>
                </a:cubicBezTo>
                <a:close/>
                <a:moveTo>
                  <a:pt x="820" y="1885"/>
                </a:moveTo>
                <a:lnTo>
                  <a:pt x="1044" y="1885"/>
                </a:lnTo>
                <a:cubicBezTo>
                  <a:pt x="1053" y="1885"/>
                  <a:pt x="1060" y="1892"/>
                  <a:pt x="1060" y="1901"/>
                </a:cubicBezTo>
                <a:cubicBezTo>
                  <a:pt x="1060" y="1910"/>
                  <a:pt x="1053" y="1917"/>
                  <a:pt x="1044" y="1917"/>
                </a:cubicBezTo>
                <a:lnTo>
                  <a:pt x="820" y="1917"/>
                </a:lnTo>
                <a:cubicBezTo>
                  <a:pt x="811" y="1917"/>
                  <a:pt x="804" y="1910"/>
                  <a:pt x="804" y="1901"/>
                </a:cubicBezTo>
                <a:cubicBezTo>
                  <a:pt x="804" y="1892"/>
                  <a:pt x="811" y="1885"/>
                  <a:pt x="820" y="1885"/>
                </a:cubicBezTo>
                <a:close/>
                <a:moveTo>
                  <a:pt x="1204" y="1885"/>
                </a:moveTo>
                <a:lnTo>
                  <a:pt x="1428" y="1885"/>
                </a:lnTo>
                <a:cubicBezTo>
                  <a:pt x="1437" y="1885"/>
                  <a:pt x="1444" y="1892"/>
                  <a:pt x="1444" y="1901"/>
                </a:cubicBezTo>
                <a:cubicBezTo>
                  <a:pt x="1444" y="1910"/>
                  <a:pt x="1437" y="1917"/>
                  <a:pt x="1428" y="1917"/>
                </a:cubicBezTo>
                <a:lnTo>
                  <a:pt x="1204" y="1917"/>
                </a:lnTo>
                <a:cubicBezTo>
                  <a:pt x="1195" y="1917"/>
                  <a:pt x="1188" y="1910"/>
                  <a:pt x="1188" y="1901"/>
                </a:cubicBezTo>
                <a:cubicBezTo>
                  <a:pt x="1188" y="1892"/>
                  <a:pt x="1195" y="1885"/>
                  <a:pt x="1204" y="1885"/>
                </a:cubicBezTo>
                <a:close/>
                <a:moveTo>
                  <a:pt x="1588" y="1885"/>
                </a:moveTo>
                <a:lnTo>
                  <a:pt x="1812" y="1885"/>
                </a:lnTo>
                <a:cubicBezTo>
                  <a:pt x="1821" y="1885"/>
                  <a:pt x="1828" y="1892"/>
                  <a:pt x="1828" y="1901"/>
                </a:cubicBezTo>
                <a:cubicBezTo>
                  <a:pt x="1828" y="1910"/>
                  <a:pt x="1821" y="1917"/>
                  <a:pt x="1812" y="1917"/>
                </a:cubicBezTo>
                <a:lnTo>
                  <a:pt x="1588" y="1917"/>
                </a:lnTo>
                <a:cubicBezTo>
                  <a:pt x="1579" y="1917"/>
                  <a:pt x="1572" y="1910"/>
                  <a:pt x="1572" y="1901"/>
                </a:cubicBezTo>
                <a:cubicBezTo>
                  <a:pt x="1572" y="1892"/>
                  <a:pt x="1579" y="1885"/>
                  <a:pt x="1588" y="1885"/>
                </a:cubicBezTo>
                <a:close/>
                <a:moveTo>
                  <a:pt x="1972" y="1885"/>
                </a:moveTo>
                <a:lnTo>
                  <a:pt x="2093" y="1885"/>
                </a:lnTo>
                <a:cubicBezTo>
                  <a:pt x="2102" y="1885"/>
                  <a:pt x="2109" y="1892"/>
                  <a:pt x="2109" y="1901"/>
                </a:cubicBezTo>
                <a:cubicBezTo>
                  <a:pt x="2109" y="1910"/>
                  <a:pt x="2102" y="1917"/>
                  <a:pt x="2093" y="1917"/>
                </a:cubicBezTo>
                <a:lnTo>
                  <a:pt x="1972" y="1917"/>
                </a:lnTo>
                <a:cubicBezTo>
                  <a:pt x="1963" y="1917"/>
                  <a:pt x="1956" y="1910"/>
                  <a:pt x="1956" y="1901"/>
                </a:cubicBezTo>
                <a:cubicBezTo>
                  <a:pt x="1956" y="1892"/>
                  <a:pt x="1963" y="1885"/>
                  <a:pt x="1972" y="1885"/>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75">
            <a:extLst>
              <a:ext uri="{FF2B5EF4-FFF2-40B4-BE49-F238E27FC236}">
                <a16:creationId xmlns:a16="http://schemas.microsoft.com/office/drawing/2014/main" id="{859A4A6E-5440-498C-9930-49044F81716F}"/>
              </a:ext>
            </a:extLst>
          </p:cNvPr>
          <p:cNvSpPr>
            <a:spLocks/>
          </p:cNvSpPr>
          <p:nvPr/>
        </p:nvSpPr>
        <p:spPr bwMode="auto">
          <a:xfrm>
            <a:off x="4903788" y="255111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276">
            <a:extLst>
              <a:ext uri="{FF2B5EF4-FFF2-40B4-BE49-F238E27FC236}">
                <a16:creationId xmlns:a16="http://schemas.microsoft.com/office/drawing/2014/main" id="{7CAFEB08-76EC-47BF-BE7D-6B90253AE907}"/>
              </a:ext>
            </a:extLst>
          </p:cNvPr>
          <p:cNvSpPr>
            <a:spLocks noChangeArrowheads="1"/>
          </p:cNvSpPr>
          <p:nvPr/>
        </p:nvSpPr>
        <p:spPr bwMode="auto">
          <a:xfrm>
            <a:off x="4402138" y="2459038"/>
            <a:ext cx="3667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xplo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2" name="Rectangle 277">
            <a:extLst>
              <a:ext uri="{FF2B5EF4-FFF2-40B4-BE49-F238E27FC236}">
                <a16:creationId xmlns:a16="http://schemas.microsoft.com/office/drawing/2014/main" id="{C9383833-DACB-498E-ADE6-4C9FE4632339}"/>
              </a:ext>
            </a:extLst>
          </p:cNvPr>
          <p:cNvSpPr>
            <a:spLocks noChangeArrowheads="1"/>
          </p:cNvSpPr>
          <p:nvPr/>
        </p:nvSpPr>
        <p:spPr bwMode="auto">
          <a:xfrm>
            <a:off x="4405313" y="2578100"/>
            <a:ext cx="3524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ata i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3" name="Freeform 278">
            <a:extLst>
              <a:ext uri="{FF2B5EF4-FFF2-40B4-BE49-F238E27FC236}">
                <a16:creationId xmlns:a16="http://schemas.microsoft.com/office/drawing/2014/main" id="{FD3CCE49-DB25-4237-8634-02D86E9DD8DF}"/>
              </a:ext>
            </a:extLst>
          </p:cNvPr>
          <p:cNvSpPr>
            <a:spLocks/>
          </p:cNvSpPr>
          <p:nvPr/>
        </p:nvSpPr>
        <p:spPr bwMode="auto">
          <a:xfrm>
            <a:off x="4471988" y="1373188"/>
            <a:ext cx="114300" cy="115888"/>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279">
            <a:extLst>
              <a:ext uri="{FF2B5EF4-FFF2-40B4-BE49-F238E27FC236}">
                <a16:creationId xmlns:a16="http://schemas.microsoft.com/office/drawing/2014/main" id="{28B1E603-C605-4CD7-B307-16C2F199E187}"/>
              </a:ext>
            </a:extLst>
          </p:cNvPr>
          <p:cNvSpPr>
            <a:spLocks/>
          </p:cNvSpPr>
          <p:nvPr/>
        </p:nvSpPr>
        <p:spPr bwMode="auto">
          <a:xfrm>
            <a:off x="4443413" y="1501775"/>
            <a:ext cx="171450" cy="85725"/>
          </a:xfrm>
          <a:custGeom>
            <a:avLst/>
            <a:gdLst>
              <a:gd name="T0" fmla="*/ 289 w 577"/>
              <a:gd name="T1" fmla="*/ 0 h 288"/>
              <a:gd name="T2" fmla="*/ 0 w 577"/>
              <a:gd name="T3" fmla="*/ 288 h 288"/>
              <a:gd name="T4" fmla="*/ 577 w 577"/>
              <a:gd name="T5" fmla="*/ 288 h 288"/>
              <a:gd name="T6" fmla="*/ 289 w 577"/>
              <a:gd name="T7" fmla="*/ 0 h 288"/>
            </a:gdLst>
            <a:ahLst/>
            <a:cxnLst>
              <a:cxn ang="0">
                <a:pos x="T0" y="T1"/>
              </a:cxn>
              <a:cxn ang="0">
                <a:pos x="T2" y="T3"/>
              </a:cxn>
              <a:cxn ang="0">
                <a:pos x="T4" y="T5"/>
              </a:cxn>
              <a:cxn ang="0">
                <a:pos x="T6" y="T7"/>
              </a:cxn>
            </a:cxnLst>
            <a:rect l="0" t="0" r="r" b="b"/>
            <a:pathLst>
              <a:path w="577" h="288">
                <a:moveTo>
                  <a:pt x="289" y="0"/>
                </a:moveTo>
                <a:cubicBezTo>
                  <a:pt x="129" y="0"/>
                  <a:pt x="0" y="128"/>
                  <a:pt x="0" y="288"/>
                </a:cubicBezTo>
                <a:lnTo>
                  <a:pt x="577" y="288"/>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280">
            <a:extLst>
              <a:ext uri="{FF2B5EF4-FFF2-40B4-BE49-F238E27FC236}">
                <a16:creationId xmlns:a16="http://schemas.microsoft.com/office/drawing/2014/main" id="{E0BA3331-9725-4C96-99E7-A1A76D145974}"/>
              </a:ext>
            </a:extLst>
          </p:cNvPr>
          <p:cNvSpPr>
            <a:spLocks/>
          </p:cNvSpPr>
          <p:nvPr/>
        </p:nvSpPr>
        <p:spPr bwMode="auto">
          <a:xfrm>
            <a:off x="4349751" y="1530350"/>
            <a:ext cx="80963"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6"/>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281">
            <a:extLst>
              <a:ext uri="{FF2B5EF4-FFF2-40B4-BE49-F238E27FC236}">
                <a16:creationId xmlns:a16="http://schemas.microsoft.com/office/drawing/2014/main" id="{40C50B50-9FE6-433A-8B4A-C906B34199A1}"/>
              </a:ext>
            </a:extLst>
          </p:cNvPr>
          <p:cNvSpPr>
            <a:spLocks/>
          </p:cNvSpPr>
          <p:nvPr/>
        </p:nvSpPr>
        <p:spPr bwMode="auto">
          <a:xfrm>
            <a:off x="4364038" y="1431925"/>
            <a:ext cx="85725" cy="85725"/>
          </a:xfrm>
          <a:custGeom>
            <a:avLst/>
            <a:gdLst>
              <a:gd name="T0" fmla="*/ 144 w 289"/>
              <a:gd name="T1" fmla="*/ 0 h 289"/>
              <a:gd name="T2" fmla="*/ 0 w 289"/>
              <a:gd name="T3" fmla="*/ 144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4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5"/>
                  <a:pt x="0" y="144"/>
                </a:cubicBezTo>
                <a:cubicBezTo>
                  <a:pt x="0" y="189"/>
                  <a:pt x="20" y="228"/>
                  <a:pt x="52" y="255"/>
                </a:cubicBezTo>
                <a:cubicBezTo>
                  <a:pt x="74" y="275"/>
                  <a:pt x="104" y="286"/>
                  <a:pt x="135" y="289"/>
                </a:cubicBezTo>
                <a:cubicBezTo>
                  <a:pt x="138" y="289"/>
                  <a:pt x="140" y="289"/>
                  <a:pt x="144" y="289"/>
                </a:cubicBezTo>
                <a:cubicBezTo>
                  <a:pt x="147" y="289"/>
                  <a:pt x="149" y="289"/>
                  <a:pt x="153" y="289"/>
                </a:cubicBezTo>
                <a:cubicBezTo>
                  <a:pt x="185" y="286"/>
                  <a:pt x="214" y="275"/>
                  <a:pt x="237" y="255"/>
                </a:cubicBezTo>
                <a:cubicBezTo>
                  <a:pt x="268" y="228"/>
                  <a:pt x="289" y="189"/>
                  <a:pt x="289" y="144"/>
                </a:cubicBezTo>
                <a:cubicBezTo>
                  <a:pt x="289" y="65"/>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282">
            <a:extLst>
              <a:ext uri="{FF2B5EF4-FFF2-40B4-BE49-F238E27FC236}">
                <a16:creationId xmlns:a16="http://schemas.microsoft.com/office/drawing/2014/main" id="{9E5D758F-CD86-439D-9BA1-ECEDA6545BE9}"/>
              </a:ext>
            </a:extLst>
          </p:cNvPr>
          <p:cNvSpPr>
            <a:spLocks noChangeArrowheads="1"/>
          </p:cNvSpPr>
          <p:nvPr/>
        </p:nvSpPr>
        <p:spPr bwMode="auto">
          <a:xfrm>
            <a:off x="4622801" y="1390650"/>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View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8" name="Group 137">
            <a:extLst>
              <a:ext uri="{FF2B5EF4-FFF2-40B4-BE49-F238E27FC236}">
                <a16:creationId xmlns:a16="http://schemas.microsoft.com/office/drawing/2014/main" id="{BB777659-53DF-497C-B5F4-DCB56F0FEAB4}"/>
              </a:ext>
            </a:extLst>
          </p:cNvPr>
          <p:cNvGrpSpPr/>
          <p:nvPr/>
        </p:nvGrpSpPr>
        <p:grpSpPr>
          <a:xfrm>
            <a:off x="1493838" y="1661318"/>
            <a:ext cx="4461355" cy="5067301"/>
            <a:chOff x="1493838" y="1661318"/>
            <a:chExt cx="4461355" cy="5067301"/>
          </a:xfrm>
        </p:grpSpPr>
        <p:grpSp>
          <p:nvGrpSpPr>
            <p:cNvPr id="139" name="Group 138">
              <a:extLst>
                <a:ext uri="{FF2B5EF4-FFF2-40B4-BE49-F238E27FC236}">
                  <a16:creationId xmlns:a16="http://schemas.microsoft.com/office/drawing/2014/main" id="{C73B388F-DA63-4D20-A575-BA295760C422}"/>
                </a:ext>
              </a:extLst>
            </p:cNvPr>
            <p:cNvGrpSpPr/>
            <p:nvPr/>
          </p:nvGrpSpPr>
          <p:grpSpPr>
            <a:xfrm>
              <a:off x="2049942" y="1661318"/>
              <a:ext cx="1530868" cy="522288"/>
              <a:chOff x="2049463" y="1661319"/>
              <a:chExt cx="1530868" cy="522288"/>
            </a:xfrm>
          </p:grpSpPr>
          <p:sp>
            <p:nvSpPr>
              <p:cNvPr id="236" name="Rectangle 72">
                <a:extLst>
                  <a:ext uri="{FF2B5EF4-FFF2-40B4-BE49-F238E27FC236}">
                    <a16:creationId xmlns:a16="http://schemas.microsoft.com/office/drawing/2014/main" id="{198C6B3A-6B00-4959-893F-2DAEF067236E}"/>
                  </a:ext>
                </a:extLst>
              </p:cNvPr>
              <p:cNvSpPr>
                <a:spLocks noChangeArrowheads="1"/>
              </p:cNvSpPr>
              <p:nvPr/>
            </p:nvSpPr>
            <p:spPr bwMode="auto">
              <a:xfrm>
                <a:off x="2049463" y="1661319"/>
                <a:ext cx="723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ccess / Expor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7" name="Rectangle 73">
                <a:extLst>
                  <a:ext uri="{FF2B5EF4-FFF2-40B4-BE49-F238E27FC236}">
                    <a16:creationId xmlns:a16="http://schemas.microsoft.com/office/drawing/2014/main" id="{8200BC74-F412-4EFD-9643-BCD629C27443}"/>
                  </a:ext>
                </a:extLst>
              </p:cNvPr>
              <p:cNvSpPr>
                <a:spLocks noChangeArrowheads="1"/>
              </p:cNvSpPr>
              <p:nvPr/>
            </p:nvSpPr>
            <p:spPr bwMode="auto">
              <a:xfrm>
                <a:off x="2049463" y="1783556"/>
                <a:ext cx="153086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Related regulations (GDPR, CCP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8" name="Rectangle 75">
                <a:extLst>
                  <a:ext uri="{FF2B5EF4-FFF2-40B4-BE49-F238E27FC236}">
                    <a16:creationId xmlns:a16="http://schemas.microsoft.com/office/drawing/2014/main" id="{626CEF91-BD42-4CD0-BC94-FF8A4478068D}"/>
                  </a:ext>
                </a:extLst>
              </p:cNvPr>
              <p:cNvSpPr>
                <a:spLocks noChangeArrowheads="1"/>
              </p:cNvSpPr>
              <p:nvPr/>
            </p:nvSpPr>
            <p:spPr bwMode="auto">
              <a:xfrm>
                <a:off x="2049463" y="1902619"/>
                <a:ext cx="44291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eadlin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9" name="Rectangle 76">
                <a:extLst>
                  <a:ext uri="{FF2B5EF4-FFF2-40B4-BE49-F238E27FC236}">
                    <a16:creationId xmlns:a16="http://schemas.microsoft.com/office/drawing/2014/main" id="{8254B632-49C7-4A23-A098-1E93C4E1F521}"/>
                  </a:ext>
                </a:extLst>
              </p:cNvPr>
              <p:cNvSpPr>
                <a:spLocks noChangeArrowheads="1"/>
              </p:cNvSpPr>
              <p:nvPr/>
            </p:nvSpPr>
            <p:spPr bwMode="auto">
              <a:xfrm>
                <a:off x="2049463" y="2026444"/>
                <a:ext cx="6810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quest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3EFC7039-C52B-4835-A217-4E907FFD2280}"/>
                </a:ext>
              </a:extLst>
            </p:cNvPr>
            <p:cNvGrpSpPr/>
            <p:nvPr/>
          </p:nvGrpSpPr>
          <p:grpSpPr>
            <a:xfrm>
              <a:off x="2964342" y="2378868"/>
              <a:ext cx="1189428" cy="489823"/>
              <a:chOff x="2963863" y="2378869"/>
              <a:chExt cx="1189428" cy="489823"/>
            </a:xfrm>
          </p:grpSpPr>
          <p:sp>
            <p:nvSpPr>
              <p:cNvPr id="232" name="Rectangle 77">
                <a:extLst>
                  <a:ext uri="{FF2B5EF4-FFF2-40B4-BE49-F238E27FC236}">
                    <a16:creationId xmlns:a16="http://schemas.microsoft.com/office/drawing/2014/main" id="{1B379039-B2A9-4453-87E0-E4B568491A59}"/>
                  </a:ext>
                </a:extLst>
              </p:cNvPr>
              <p:cNvSpPr>
                <a:spLocks noChangeArrowheads="1"/>
              </p:cNvSpPr>
              <p:nvPr/>
            </p:nvSpPr>
            <p:spPr bwMode="auto">
              <a:xfrm>
                <a:off x="2963863" y="2378869"/>
                <a:ext cx="342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Nam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3" name="Rectangle 78">
                <a:extLst>
                  <a:ext uri="{FF2B5EF4-FFF2-40B4-BE49-F238E27FC236}">
                    <a16:creationId xmlns:a16="http://schemas.microsoft.com/office/drawing/2014/main" id="{ED67E136-5C61-4004-8C55-1ECE5427B3A2}"/>
                  </a:ext>
                </a:extLst>
              </p:cNvPr>
              <p:cNvSpPr>
                <a:spLocks noChangeArrowheads="1"/>
              </p:cNvSpPr>
              <p:nvPr/>
            </p:nvSpPr>
            <p:spPr bwMode="auto">
              <a:xfrm>
                <a:off x="2963863" y="2501106"/>
                <a:ext cx="285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Emai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4" name="Rectangle 79">
                <a:extLst>
                  <a:ext uri="{FF2B5EF4-FFF2-40B4-BE49-F238E27FC236}">
                    <a16:creationId xmlns:a16="http://schemas.microsoft.com/office/drawing/2014/main" id="{7292DF15-6A19-41BA-86EF-6EBF755B53E0}"/>
                  </a:ext>
                </a:extLst>
              </p:cNvPr>
              <p:cNvSpPr>
                <a:spLocks noChangeArrowheads="1"/>
              </p:cNvSpPr>
              <p:nvPr/>
            </p:nvSpPr>
            <p:spPr bwMode="auto">
              <a:xfrm>
                <a:off x="2963863" y="2623344"/>
                <a:ext cx="4953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sidenc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5" name="Rectangle 80">
                <a:extLst>
                  <a:ext uri="{FF2B5EF4-FFF2-40B4-BE49-F238E27FC236}">
                    <a16:creationId xmlns:a16="http://schemas.microsoft.com/office/drawing/2014/main" id="{AAC6BAA5-F4C6-416B-B07A-15DC51D258F2}"/>
                  </a:ext>
                </a:extLst>
              </p:cNvPr>
              <p:cNvSpPr>
                <a:spLocks noChangeArrowheads="1"/>
              </p:cNvSpPr>
              <p:nvPr/>
            </p:nvSpPr>
            <p:spPr bwMode="auto">
              <a:xfrm>
                <a:off x="2963863" y="2745581"/>
                <a:ext cx="118942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Link (customer, employe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8B97185F-656F-4C55-BF35-023CA2DB8B2E}"/>
                </a:ext>
              </a:extLst>
            </p:cNvPr>
            <p:cNvGrpSpPr/>
            <p:nvPr/>
          </p:nvGrpSpPr>
          <p:grpSpPr>
            <a:xfrm>
              <a:off x="3231042" y="3669506"/>
              <a:ext cx="1463675" cy="912813"/>
              <a:chOff x="3230563" y="3669506"/>
              <a:chExt cx="1463675" cy="912813"/>
            </a:xfrm>
          </p:grpSpPr>
          <p:sp>
            <p:nvSpPr>
              <p:cNvPr id="227" name="Rectangle 121">
                <a:extLst>
                  <a:ext uri="{FF2B5EF4-FFF2-40B4-BE49-F238E27FC236}">
                    <a16:creationId xmlns:a16="http://schemas.microsoft.com/office/drawing/2014/main" id="{0D4E8D61-AC83-4275-B69A-9F68C3CEC118}"/>
                  </a:ext>
                </a:extLst>
              </p:cNvPr>
              <p:cNvSpPr>
                <a:spLocks noChangeArrowheads="1"/>
              </p:cNvSpPr>
              <p:nvPr/>
            </p:nvSpPr>
            <p:spPr bwMode="auto">
              <a:xfrm>
                <a:off x="3230563" y="3669506"/>
                <a:ext cx="257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Ta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8" name="Rectangle 122">
                <a:extLst>
                  <a:ext uri="{FF2B5EF4-FFF2-40B4-BE49-F238E27FC236}">
                    <a16:creationId xmlns:a16="http://schemas.microsoft.com/office/drawing/2014/main" id="{D2DB93FB-3599-4F2D-87E8-2A157065B329}"/>
                  </a:ext>
                </a:extLst>
              </p:cNvPr>
              <p:cNvSpPr>
                <a:spLocks noChangeArrowheads="1"/>
              </p:cNvSpPr>
              <p:nvPr/>
            </p:nvSpPr>
            <p:spPr bwMode="auto">
              <a:xfrm>
                <a:off x="3230563" y="3791743"/>
                <a:ext cx="8493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ontent redac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9" name="Rectangle 123">
                <a:extLst>
                  <a:ext uri="{FF2B5EF4-FFF2-40B4-BE49-F238E27FC236}">
                    <a16:creationId xmlns:a16="http://schemas.microsoft.com/office/drawing/2014/main" id="{EEFFC4A5-B936-4116-9C08-BB719D10585B}"/>
                  </a:ext>
                </a:extLst>
              </p:cNvPr>
              <p:cNvSpPr>
                <a:spLocks noChangeArrowheads="1"/>
              </p:cNvSpPr>
              <p:nvPr/>
            </p:nvSpPr>
            <p:spPr bwMode="auto">
              <a:xfrm>
                <a:off x="3230563" y="3913981"/>
                <a:ext cx="4714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File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0" name="Rectangle 125">
                <a:extLst>
                  <a:ext uri="{FF2B5EF4-FFF2-40B4-BE49-F238E27FC236}">
                    <a16:creationId xmlns:a16="http://schemas.microsoft.com/office/drawing/2014/main" id="{8782C6A4-20DC-44AB-B4D9-47FE728DF042}"/>
                  </a:ext>
                </a:extLst>
              </p:cNvPr>
              <p:cNvSpPr>
                <a:spLocks noChangeArrowheads="1"/>
              </p:cNvSpPr>
              <p:nvPr/>
            </p:nvSpPr>
            <p:spPr bwMode="auto">
              <a:xfrm>
                <a:off x="3249613" y="4302919"/>
                <a:ext cx="733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Internal repor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1" name="Rectangle 126">
                <a:extLst>
                  <a:ext uri="{FF2B5EF4-FFF2-40B4-BE49-F238E27FC236}">
                    <a16:creationId xmlns:a16="http://schemas.microsoft.com/office/drawing/2014/main" id="{21338D19-EAA6-4FB6-B873-45861002D8A5}"/>
                  </a:ext>
                </a:extLst>
              </p:cNvPr>
              <p:cNvSpPr>
                <a:spLocks noChangeArrowheads="1"/>
              </p:cNvSpPr>
              <p:nvPr/>
            </p:nvSpPr>
            <p:spPr bwMode="auto">
              <a:xfrm>
                <a:off x="3249613" y="4425156"/>
                <a:ext cx="1444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Final report for the data subjec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42" name="Group 141">
              <a:extLst>
                <a:ext uri="{FF2B5EF4-FFF2-40B4-BE49-F238E27FC236}">
                  <a16:creationId xmlns:a16="http://schemas.microsoft.com/office/drawing/2014/main" id="{76EA9ABC-3251-4E04-A9EC-BA57AFA92889}"/>
                </a:ext>
              </a:extLst>
            </p:cNvPr>
            <p:cNvGrpSpPr/>
            <p:nvPr/>
          </p:nvGrpSpPr>
          <p:grpSpPr>
            <a:xfrm>
              <a:off x="3238980" y="3040855"/>
              <a:ext cx="2716213" cy="415926"/>
              <a:chOff x="3238501" y="3040856"/>
              <a:chExt cx="2716213" cy="415926"/>
            </a:xfrm>
          </p:grpSpPr>
          <p:sp>
            <p:nvSpPr>
              <p:cNvPr id="191" name="Rectangle 22">
                <a:extLst>
                  <a:ext uri="{FF2B5EF4-FFF2-40B4-BE49-F238E27FC236}">
                    <a16:creationId xmlns:a16="http://schemas.microsoft.com/office/drawing/2014/main" id="{F7B2F5C5-5089-4F41-8C5E-546806FB6451}"/>
                  </a:ext>
                </a:extLst>
              </p:cNvPr>
              <p:cNvSpPr>
                <a:spLocks noChangeArrowheads="1"/>
              </p:cNvSpPr>
              <p:nvPr/>
            </p:nvSpPr>
            <p:spPr bwMode="auto">
              <a:xfrm>
                <a:off x="3238501" y="3040856"/>
                <a:ext cx="26638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Personal attributes : address, ID, birthdate, phone numb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2" name="Rectangle 23">
                <a:extLst>
                  <a:ext uri="{FF2B5EF4-FFF2-40B4-BE49-F238E27FC236}">
                    <a16:creationId xmlns:a16="http://schemas.microsoft.com/office/drawing/2014/main" id="{0E4A12BA-CDC0-4E4B-A966-737A8864D048}"/>
                  </a:ext>
                </a:extLst>
              </p:cNvPr>
              <p:cNvSpPr>
                <a:spLocks noChangeArrowheads="1"/>
              </p:cNvSpPr>
              <p:nvPr/>
            </p:nvSpPr>
            <p:spPr bwMode="auto">
              <a:xfrm>
                <a:off x="3238501" y="3163094"/>
                <a:ext cx="2716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Conditions : timeframe, retention labels, participants, subjec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93" name="Rectangle 25">
                <a:extLst>
                  <a:ext uri="{FF2B5EF4-FFF2-40B4-BE49-F238E27FC236}">
                    <a16:creationId xmlns:a16="http://schemas.microsoft.com/office/drawing/2014/main" id="{D5D71AD0-F03C-4B23-9456-A02D8ABE08DE}"/>
                  </a:ext>
                </a:extLst>
              </p:cNvPr>
              <p:cNvSpPr>
                <a:spLocks noChangeArrowheads="1"/>
              </p:cNvSpPr>
              <p:nvPr/>
            </p:nvSpPr>
            <p:spPr bwMode="auto">
              <a:xfrm>
                <a:off x="3238501" y="3282156"/>
                <a:ext cx="5000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ocatio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4" name="Oval 154">
                <a:extLst>
                  <a:ext uri="{FF2B5EF4-FFF2-40B4-BE49-F238E27FC236}">
                    <a16:creationId xmlns:a16="http://schemas.microsoft.com/office/drawing/2014/main" id="{16AB5A4A-7112-43DF-991E-FFEEF9C53FB6}"/>
                  </a:ext>
                </a:extLst>
              </p:cNvPr>
              <p:cNvSpPr>
                <a:spLocks noChangeArrowheads="1"/>
              </p:cNvSpPr>
              <p:nvPr/>
            </p:nvSpPr>
            <p:spPr bwMode="auto">
              <a:xfrm>
                <a:off x="3973513" y="3307556"/>
                <a:ext cx="80963" cy="82550"/>
              </a:xfrm>
              <a:prstGeom prst="ellipse">
                <a:avLst/>
              </a:prstGeom>
              <a:solidFill>
                <a:srgbClr val="036C7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Oval 155">
                <a:extLst>
                  <a:ext uri="{FF2B5EF4-FFF2-40B4-BE49-F238E27FC236}">
                    <a16:creationId xmlns:a16="http://schemas.microsoft.com/office/drawing/2014/main" id="{0771C38F-8365-44FF-9EF7-D53ADD0EE021}"/>
                  </a:ext>
                </a:extLst>
              </p:cNvPr>
              <p:cNvSpPr>
                <a:spLocks noChangeArrowheads="1"/>
              </p:cNvSpPr>
              <p:nvPr/>
            </p:nvSpPr>
            <p:spPr bwMode="auto">
              <a:xfrm>
                <a:off x="4017963" y="3353594"/>
                <a:ext cx="74613" cy="73025"/>
              </a:xfrm>
              <a:prstGeom prst="ellipse">
                <a:avLst/>
              </a:prstGeom>
              <a:solidFill>
                <a:srgbClr val="1A9BA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Oval 156">
                <a:extLst>
                  <a:ext uri="{FF2B5EF4-FFF2-40B4-BE49-F238E27FC236}">
                    <a16:creationId xmlns:a16="http://schemas.microsoft.com/office/drawing/2014/main" id="{99E5251E-A292-470B-9FA0-646D876DB7AD}"/>
                  </a:ext>
                </a:extLst>
              </p:cNvPr>
              <p:cNvSpPr>
                <a:spLocks noChangeArrowheads="1"/>
              </p:cNvSpPr>
              <p:nvPr/>
            </p:nvSpPr>
            <p:spPr bwMode="auto">
              <a:xfrm>
                <a:off x="3987801" y="3398044"/>
                <a:ext cx="60325" cy="58738"/>
              </a:xfrm>
              <a:prstGeom prst="ellipse">
                <a:avLst/>
              </a:prstGeom>
              <a:solidFill>
                <a:srgbClr val="37C6D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Rectangle 157">
                <a:extLst>
                  <a:ext uri="{FF2B5EF4-FFF2-40B4-BE49-F238E27FC236}">
                    <a16:creationId xmlns:a16="http://schemas.microsoft.com/office/drawing/2014/main" id="{ECD98BA0-B3B0-4394-BED4-A40E1F4009D0}"/>
                  </a:ext>
                </a:extLst>
              </p:cNvPr>
              <p:cNvSpPr>
                <a:spLocks noChangeArrowheads="1"/>
              </p:cNvSpPr>
              <p:nvPr/>
            </p:nvSpPr>
            <p:spPr bwMode="auto">
              <a:xfrm>
                <a:off x="3970338" y="3340894"/>
                <a:ext cx="7620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58">
                <a:extLst>
                  <a:ext uri="{FF2B5EF4-FFF2-40B4-BE49-F238E27FC236}">
                    <a16:creationId xmlns:a16="http://schemas.microsoft.com/office/drawing/2014/main" id="{8C3C3AC1-D4C3-4935-98EB-3ED260F21B7C}"/>
                  </a:ext>
                </a:extLst>
              </p:cNvPr>
              <p:cNvSpPr>
                <a:spLocks/>
              </p:cNvSpPr>
              <p:nvPr/>
            </p:nvSpPr>
            <p:spPr bwMode="auto">
              <a:xfrm>
                <a:off x="3973513" y="3345656"/>
                <a:ext cx="66675" cy="88900"/>
              </a:xfrm>
              <a:custGeom>
                <a:avLst/>
                <a:gdLst>
                  <a:gd name="T0" fmla="*/ 225 w 225"/>
                  <a:gd name="T1" fmla="*/ 26 h 301"/>
                  <a:gd name="T2" fmla="*/ 199 w 225"/>
                  <a:gd name="T3" fmla="*/ 1 h 301"/>
                  <a:gd name="T4" fmla="*/ 1 w 225"/>
                  <a:gd name="T5" fmla="*/ 1 h 301"/>
                  <a:gd name="T6" fmla="*/ 0 w 225"/>
                  <a:gd name="T7" fmla="*/ 13 h 301"/>
                  <a:gd name="T8" fmla="*/ 138 w 225"/>
                  <a:gd name="T9" fmla="*/ 151 h 301"/>
                  <a:gd name="T10" fmla="*/ 150 w 225"/>
                  <a:gd name="T11" fmla="*/ 150 h 301"/>
                  <a:gd name="T12" fmla="*/ 150 w 225"/>
                  <a:gd name="T13" fmla="*/ 151 h 301"/>
                  <a:gd name="T14" fmla="*/ 152 w 225"/>
                  <a:gd name="T15" fmla="*/ 171 h 301"/>
                  <a:gd name="T16" fmla="*/ 159 w 225"/>
                  <a:gd name="T17" fmla="*/ 170 h 301"/>
                  <a:gd name="T18" fmla="*/ 159 w 225"/>
                  <a:gd name="T19" fmla="*/ 172 h 301"/>
                  <a:gd name="T20" fmla="*/ 157 w 225"/>
                  <a:gd name="T21" fmla="*/ 172 h 301"/>
                  <a:gd name="T22" fmla="*/ 152 w 225"/>
                  <a:gd name="T23" fmla="*/ 173 h 301"/>
                  <a:gd name="T24" fmla="*/ 153 w 225"/>
                  <a:gd name="T25" fmla="*/ 176 h 301"/>
                  <a:gd name="T26" fmla="*/ 150 w 225"/>
                  <a:gd name="T27" fmla="*/ 176 h 301"/>
                  <a:gd name="T28" fmla="*/ 131 w 225"/>
                  <a:gd name="T29" fmla="*/ 178 h 301"/>
                  <a:gd name="T30" fmla="*/ 131 w 225"/>
                  <a:gd name="T31" fmla="*/ 178 h 301"/>
                  <a:gd name="T32" fmla="*/ 129 w 225"/>
                  <a:gd name="T33" fmla="*/ 178 h 301"/>
                  <a:gd name="T34" fmla="*/ 52 w 225"/>
                  <a:gd name="T35" fmla="*/ 294 h 301"/>
                  <a:gd name="T36" fmla="*/ 54 w 225"/>
                  <a:gd name="T37" fmla="*/ 301 h 301"/>
                  <a:gd name="T38" fmla="*/ 193 w 225"/>
                  <a:gd name="T39" fmla="*/ 301 h 301"/>
                  <a:gd name="T40" fmla="*/ 225 w 225"/>
                  <a:gd name="T41" fmla="*/ 272 h 301"/>
                  <a:gd name="T42" fmla="*/ 225 w 225"/>
                  <a:gd name="T43" fmla="*/ 26 h 301"/>
                  <a:gd name="T44" fmla="*/ 225 w 225"/>
                  <a:gd name="T45" fmla="*/ 2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301">
                    <a:moveTo>
                      <a:pt x="225" y="26"/>
                    </a:moveTo>
                    <a:cubicBezTo>
                      <a:pt x="225" y="11"/>
                      <a:pt x="213" y="0"/>
                      <a:pt x="199" y="1"/>
                    </a:cubicBezTo>
                    <a:lnTo>
                      <a:pt x="1" y="1"/>
                    </a:lnTo>
                    <a:cubicBezTo>
                      <a:pt x="0" y="5"/>
                      <a:pt x="0" y="9"/>
                      <a:pt x="0" y="13"/>
                    </a:cubicBezTo>
                    <a:cubicBezTo>
                      <a:pt x="0" y="89"/>
                      <a:pt x="62" y="151"/>
                      <a:pt x="138" y="151"/>
                    </a:cubicBezTo>
                    <a:cubicBezTo>
                      <a:pt x="142" y="151"/>
                      <a:pt x="146" y="151"/>
                      <a:pt x="150" y="150"/>
                    </a:cubicBezTo>
                    <a:lnTo>
                      <a:pt x="150" y="151"/>
                    </a:lnTo>
                    <a:cubicBezTo>
                      <a:pt x="150" y="158"/>
                      <a:pt x="151" y="164"/>
                      <a:pt x="152" y="171"/>
                    </a:cubicBezTo>
                    <a:cubicBezTo>
                      <a:pt x="154" y="171"/>
                      <a:pt x="156" y="171"/>
                      <a:pt x="159" y="170"/>
                    </a:cubicBezTo>
                    <a:cubicBezTo>
                      <a:pt x="159" y="171"/>
                      <a:pt x="159" y="172"/>
                      <a:pt x="159" y="172"/>
                    </a:cubicBezTo>
                    <a:lnTo>
                      <a:pt x="157" y="172"/>
                    </a:lnTo>
                    <a:cubicBezTo>
                      <a:pt x="155" y="172"/>
                      <a:pt x="154" y="173"/>
                      <a:pt x="152" y="173"/>
                    </a:cubicBezTo>
                    <a:cubicBezTo>
                      <a:pt x="152" y="174"/>
                      <a:pt x="152" y="175"/>
                      <a:pt x="153" y="176"/>
                    </a:cubicBezTo>
                    <a:lnTo>
                      <a:pt x="150" y="176"/>
                    </a:lnTo>
                    <a:cubicBezTo>
                      <a:pt x="144" y="176"/>
                      <a:pt x="138" y="177"/>
                      <a:pt x="131" y="178"/>
                    </a:cubicBezTo>
                    <a:lnTo>
                      <a:pt x="131" y="178"/>
                    </a:lnTo>
                    <a:cubicBezTo>
                      <a:pt x="131" y="178"/>
                      <a:pt x="130" y="178"/>
                      <a:pt x="129" y="178"/>
                    </a:cubicBezTo>
                    <a:cubicBezTo>
                      <a:pt x="76" y="189"/>
                      <a:pt x="41" y="241"/>
                      <a:pt x="52" y="294"/>
                    </a:cubicBezTo>
                    <a:cubicBezTo>
                      <a:pt x="52" y="296"/>
                      <a:pt x="53" y="299"/>
                      <a:pt x="54" y="301"/>
                    </a:cubicBezTo>
                    <a:lnTo>
                      <a:pt x="193" y="301"/>
                    </a:lnTo>
                    <a:cubicBezTo>
                      <a:pt x="210" y="300"/>
                      <a:pt x="223" y="288"/>
                      <a:pt x="225" y="272"/>
                    </a:cubicBezTo>
                    <a:lnTo>
                      <a:pt x="225" y="26"/>
                    </a:lnTo>
                    <a:lnTo>
                      <a:pt x="225" y="2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Rectangle 159">
                <a:extLst>
                  <a:ext uri="{FF2B5EF4-FFF2-40B4-BE49-F238E27FC236}">
                    <a16:creationId xmlns:a16="http://schemas.microsoft.com/office/drawing/2014/main" id="{10348518-8870-4952-A8F3-4BB248DF32A1}"/>
                  </a:ext>
                </a:extLst>
              </p:cNvPr>
              <p:cNvSpPr>
                <a:spLocks noChangeArrowheads="1"/>
              </p:cNvSpPr>
              <p:nvPr/>
            </p:nvSpPr>
            <p:spPr bwMode="auto">
              <a:xfrm>
                <a:off x="3970338" y="3340894"/>
                <a:ext cx="7620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60">
                <a:extLst>
                  <a:ext uri="{FF2B5EF4-FFF2-40B4-BE49-F238E27FC236}">
                    <a16:creationId xmlns:a16="http://schemas.microsoft.com/office/drawing/2014/main" id="{5E2C1CD3-9EA1-4BD9-B243-FB15720A2800}"/>
                  </a:ext>
                </a:extLst>
              </p:cNvPr>
              <p:cNvSpPr>
                <a:spLocks/>
              </p:cNvSpPr>
              <p:nvPr/>
            </p:nvSpPr>
            <p:spPr bwMode="auto">
              <a:xfrm>
                <a:off x="3943351" y="3337719"/>
                <a:ext cx="88900" cy="88900"/>
              </a:xfrm>
              <a:custGeom>
                <a:avLst/>
                <a:gdLst>
                  <a:gd name="T0" fmla="*/ 25 w 300"/>
                  <a:gd name="T1" fmla="*/ 0 h 300"/>
                  <a:gd name="T2" fmla="*/ 275 w 300"/>
                  <a:gd name="T3" fmla="*/ 0 h 300"/>
                  <a:gd name="T4" fmla="*/ 300 w 300"/>
                  <a:gd name="T5" fmla="*/ 25 h 300"/>
                  <a:gd name="T6" fmla="*/ 300 w 300"/>
                  <a:gd name="T7" fmla="*/ 275 h 300"/>
                  <a:gd name="T8" fmla="*/ 275 w 300"/>
                  <a:gd name="T9" fmla="*/ 300 h 300"/>
                  <a:gd name="T10" fmla="*/ 25 w 300"/>
                  <a:gd name="T11" fmla="*/ 300 h 300"/>
                  <a:gd name="T12" fmla="*/ 0 w 300"/>
                  <a:gd name="T13" fmla="*/ 275 h 300"/>
                  <a:gd name="T14" fmla="*/ 0 w 300"/>
                  <a:gd name="T15" fmla="*/ 25 h 300"/>
                  <a:gd name="T16" fmla="*/ 25 w 300"/>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300">
                    <a:moveTo>
                      <a:pt x="25" y="0"/>
                    </a:moveTo>
                    <a:lnTo>
                      <a:pt x="275" y="0"/>
                    </a:lnTo>
                    <a:cubicBezTo>
                      <a:pt x="289" y="0"/>
                      <a:pt x="300" y="11"/>
                      <a:pt x="300" y="25"/>
                    </a:cubicBezTo>
                    <a:lnTo>
                      <a:pt x="300" y="275"/>
                    </a:lnTo>
                    <a:cubicBezTo>
                      <a:pt x="300" y="289"/>
                      <a:pt x="289" y="300"/>
                      <a:pt x="275" y="300"/>
                    </a:cubicBezTo>
                    <a:lnTo>
                      <a:pt x="25" y="300"/>
                    </a:lnTo>
                    <a:cubicBezTo>
                      <a:pt x="11" y="300"/>
                      <a:pt x="0" y="289"/>
                      <a:pt x="0" y="275"/>
                    </a:cubicBezTo>
                    <a:lnTo>
                      <a:pt x="0" y="25"/>
                    </a:lnTo>
                    <a:cubicBezTo>
                      <a:pt x="0" y="11"/>
                      <a:pt x="11" y="0"/>
                      <a:pt x="25" y="0"/>
                    </a:cubicBezTo>
                    <a:close/>
                  </a:path>
                </a:pathLst>
              </a:custGeom>
              <a:solidFill>
                <a:srgbClr val="03838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61">
                <a:extLst>
                  <a:ext uri="{FF2B5EF4-FFF2-40B4-BE49-F238E27FC236}">
                    <a16:creationId xmlns:a16="http://schemas.microsoft.com/office/drawing/2014/main" id="{1DB45C70-C797-4D7E-BE3E-78EE408175DF}"/>
                  </a:ext>
                </a:extLst>
              </p:cNvPr>
              <p:cNvSpPr>
                <a:spLocks/>
              </p:cNvSpPr>
              <p:nvPr/>
            </p:nvSpPr>
            <p:spPr bwMode="auto">
              <a:xfrm>
                <a:off x="3968751" y="3353594"/>
                <a:ext cx="39688" cy="58738"/>
              </a:xfrm>
              <a:custGeom>
                <a:avLst/>
                <a:gdLst>
                  <a:gd name="T0" fmla="*/ 22 w 134"/>
                  <a:gd name="T1" fmla="*/ 94 h 195"/>
                  <a:gd name="T2" fmla="*/ 6 w 134"/>
                  <a:gd name="T3" fmla="*/ 77 h 195"/>
                  <a:gd name="T4" fmla="*/ 0 w 134"/>
                  <a:gd name="T5" fmla="*/ 54 h 195"/>
                  <a:gd name="T6" fmla="*/ 11 w 134"/>
                  <a:gd name="T7" fmla="*/ 24 h 195"/>
                  <a:gd name="T8" fmla="*/ 38 w 134"/>
                  <a:gd name="T9" fmla="*/ 7 h 195"/>
                  <a:gd name="T10" fmla="*/ 76 w 134"/>
                  <a:gd name="T11" fmla="*/ 1 h 195"/>
                  <a:gd name="T12" fmla="*/ 125 w 134"/>
                  <a:gd name="T13" fmla="*/ 8 h 195"/>
                  <a:gd name="T14" fmla="*/ 125 w 134"/>
                  <a:gd name="T15" fmla="*/ 43 h 195"/>
                  <a:gd name="T16" fmla="*/ 103 w 134"/>
                  <a:gd name="T17" fmla="*/ 34 h 195"/>
                  <a:gd name="T18" fmla="*/ 77 w 134"/>
                  <a:gd name="T19" fmla="*/ 30 h 195"/>
                  <a:gd name="T20" fmla="*/ 50 w 134"/>
                  <a:gd name="T21" fmla="*/ 36 h 195"/>
                  <a:gd name="T22" fmla="*/ 39 w 134"/>
                  <a:gd name="T23" fmla="*/ 52 h 195"/>
                  <a:gd name="T24" fmla="*/ 44 w 134"/>
                  <a:gd name="T25" fmla="*/ 64 h 195"/>
                  <a:gd name="T26" fmla="*/ 56 w 134"/>
                  <a:gd name="T27" fmla="*/ 72 h 195"/>
                  <a:gd name="T28" fmla="*/ 79 w 134"/>
                  <a:gd name="T29" fmla="*/ 82 h 195"/>
                  <a:gd name="T30" fmla="*/ 82 w 134"/>
                  <a:gd name="T31" fmla="*/ 84 h 195"/>
                  <a:gd name="T32" fmla="*/ 111 w 134"/>
                  <a:gd name="T33" fmla="*/ 98 h 195"/>
                  <a:gd name="T34" fmla="*/ 128 w 134"/>
                  <a:gd name="T35" fmla="*/ 115 h 195"/>
                  <a:gd name="T36" fmla="*/ 134 w 134"/>
                  <a:gd name="T37" fmla="*/ 141 h 195"/>
                  <a:gd name="T38" fmla="*/ 124 w 134"/>
                  <a:gd name="T39" fmla="*/ 172 h 195"/>
                  <a:gd name="T40" fmla="*/ 98 w 134"/>
                  <a:gd name="T41" fmla="*/ 190 h 195"/>
                  <a:gd name="T42" fmla="*/ 61 w 134"/>
                  <a:gd name="T43" fmla="*/ 195 h 195"/>
                  <a:gd name="T44" fmla="*/ 28 w 134"/>
                  <a:gd name="T45" fmla="*/ 192 h 195"/>
                  <a:gd name="T46" fmla="*/ 1 w 134"/>
                  <a:gd name="T47" fmla="*/ 184 h 195"/>
                  <a:gd name="T48" fmla="*/ 1 w 134"/>
                  <a:gd name="T49" fmla="*/ 147 h 195"/>
                  <a:gd name="T50" fmla="*/ 28 w 134"/>
                  <a:gd name="T51" fmla="*/ 160 h 195"/>
                  <a:gd name="T52" fmla="*/ 58 w 134"/>
                  <a:gd name="T53" fmla="*/ 165 h 195"/>
                  <a:gd name="T54" fmla="*/ 86 w 134"/>
                  <a:gd name="T55" fmla="*/ 159 h 195"/>
                  <a:gd name="T56" fmla="*/ 95 w 134"/>
                  <a:gd name="T57" fmla="*/ 143 h 195"/>
                  <a:gd name="T58" fmla="*/ 90 w 134"/>
                  <a:gd name="T59" fmla="*/ 130 h 195"/>
                  <a:gd name="T60" fmla="*/ 76 w 134"/>
                  <a:gd name="T61" fmla="*/ 120 h 195"/>
                  <a:gd name="T62" fmla="*/ 49 w 134"/>
                  <a:gd name="T63" fmla="*/ 108 h 195"/>
                  <a:gd name="T64" fmla="*/ 22 w 134"/>
                  <a:gd name="T65"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95">
                    <a:moveTo>
                      <a:pt x="22" y="94"/>
                    </a:moveTo>
                    <a:cubicBezTo>
                      <a:pt x="15" y="90"/>
                      <a:pt x="10" y="84"/>
                      <a:pt x="6" y="77"/>
                    </a:cubicBezTo>
                    <a:cubicBezTo>
                      <a:pt x="2" y="70"/>
                      <a:pt x="0" y="62"/>
                      <a:pt x="0" y="54"/>
                    </a:cubicBezTo>
                    <a:cubicBezTo>
                      <a:pt x="0" y="43"/>
                      <a:pt x="4" y="33"/>
                      <a:pt x="11" y="24"/>
                    </a:cubicBezTo>
                    <a:cubicBezTo>
                      <a:pt x="18" y="16"/>
                      <a:pt x="27" y="10"/>
                      <a:pt x="38" y="7"/>
                    </a:cubicBezTo>
                    <a:cubicBezTo>
                      <a:pt x="50" y="3"/>
                      <a:pt x="63" y="1"/>
                      <a:pt x="76" y="1"/>
                    </a:cubicBezTo>
                    <a:cubicBezTo>
                      <a:pt x="92" y="0"/>
                      <a:pt x="109" y="2"/>
                      <a:pt x="125" y="8"/>
                    </a:cubicBezTo>
                    <a:lnTo>
                      <a:pt x="125" y="43"/>
                    </a:lnTo>
                    <a:cubicBezTo>
                      <a:pt x="118" y="38"/>
                      <a:pt x="111" y="35"/>
                      <a:pt x="103" y="34"/>
                    </a:cubicBezTo>
                    <a:cubicBezTo>
                      <a:pt x="94" y="31"/>
                      <a:pt x="85" y="30"/>
                      <a:pt x="77" y="30"/>
                    </a:cubicBezTo>
                    <a:cubicBezTo>
                      <a:pt x="67" y="30"/>
                      <a:pt x="58" y="32"/>
                      <a:pt x="50" y="36"/>
                    </a:cubicBezTo>
                    <a:cubicBezTo>
                      <a:pt x="43" y="39"/>
                      <a:pt x="39" y="45"/>
                      <a:pt x="39" y="52"/>
                    </a:cubicBezTo>
                    <a:cubicBezTo>
                      <a:pt x="39" y="56"/>
                      <a:pt x="41" y="61"/>
                      <a:pt x="44" y="64"/>
                    </a:cubicBezTo>
                    <a:cubicBezTo>
                      <a:pt x="47" y="67"/>
                      <a:pt x="51" y="70"/>
                      <a:pt x="56" y="72"/>
                    </a:cubicBezTo>
                    <a:cubicBezTo>
                      <a:pt x="61" y="75"/>
                      <a:pt x="68" y="78"/>
                      <a:pt x="79" y="82"/>
                    </a:cubicBezTo>
                    <a:cubicBezTo>
                      <a:pt x="80" y="83"/>
                      <a:pt x="81" y="83"/>
                      <a:pt x="82" y="84"/>
                    </a:cubicBezTo>
                    <a:cubicBezTo>
                      <a:pt x="92" y="88"/>
                      <a:pt x="101" y="92"/>
                      <a:pt x="111" y="98"/>
                    </a:cubicBezTo>
                    <a:cubicBezTo>
                      <a:pt x="118" y="102"/>
                      <a:pt x="123" y="108"/>
                      <a:pt x="128" y="115"/>
                    </a:cubicBezTo>
                    <a:cubicBezTo>
                      <a:pt x="132" y="123"/>
                      <a:pt x="134" y="132"/>
                      <a:pt x="134" y="141"/>
                    </a:cubicBezTo>
                    <a:cubicBezTo>
                      <a:pt x="134" y="152"/>
                      <a:pt x="131" y="163"/>
                      <a:pt x="124" y="172"/>
                    </a:cubicBezTo>
                    <a:cubicBezTo>
                      <a:pt x="117" y="180"/>
                      <a:pt x="108" y="186"/>
                      <a:pt x="98" y="190"/>
                    </a:cubicBezTo>
                    <a:cubicBezTo>
                      <a:pt x="86" y="193"/>
                      <a:pt x="74" y="195"/>
                      <a:pt x="61" y="195"/>
                    </a:cubicBezTo>
                    <a:cubicBezTo>
                      <a:pt x="50" y="195"/>
                      <a:pt x="39" y="194"/>
                      <a:pt x="28" y="192"/>
                    </a:cubicBezTo>
                    <a:cubicBezTo>
                      <a:pt x="18" y="191"/>
                      <a:pt x="9" y="188"/>
                      <a:pt x="1" y="184"/>
                    </a:cubicBezTo>
                    <a:lnTo>
                      <a:pt x="1" y="147"/>
                    </a:lnTo>
                    <a:cubicBezTo>
                      <a:pt x="9" y="153"/>
                      <a:pt x="18" y="158"/>
                      <a:pt x="28" y="160"/>
                    </a:cubicBezTo>
                    <a:cubicBezTo>
                      <a:pt x="38" y="163"/>
                      <a:pt x="48" y="165"/>
                      <a:pt x="58" y="165"/>
                    </a:cubicBezTo>
                    <a:cubicBezTo>
                      <a:pt x="68" y="166"/>
                      <a:pt x="77" y="164"/>
                      <a:pt x="86" y="159"/>
                    </a:cubicBezTo>
                    <a:cubicBezTo>
                      <a:pt x="92" y="156"/>
                      <a:pt x="95" y="150"/>
                      <a:pt x="95" y="143"/>
                    </a:cubicBezTo>
                    <a:cubicBezTo>
                      <a:pt x="95" y="138"/>
                      <a:pt x="93" y="134"/>
                      <a:pt x="90" y="130"/>
                    </a:cubicBezTo>
                    <a:cubicBezTo>
                      <a:pt x="86" y="126"/>
                      <a:pt x="81" y="123"/>
                      <a:pt x="76" y="120"/>
                    </a:cubicBezTo>
                    <a:cubicBezTo>
                      <a:pt x="70" y="117"/>
                      <a:pt x="61" y="113"/>
                      <a:pt x="49" y="108"/>
                    </a:cubicBezTo>
                    <a:cubicBezTo>
                      <a:pt x="39" y="105"/>
                      <a:pt x="30" y="100"/>
                      <a:pt x="22" y="9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62">
                <a:extLst>
                  <a:ext uri="{FF2B5EF4-FFF2-40B4-BE49-F238E27FC236}">
                    <a16:creationId xmlns:a16="http://schemas.microsoft.com/office/drawing/2014/main" id="{D492D208-AF80-4846-8DE5-2530D6F7EC3D}"/>
                  </a:ext>
                </a:extLst>
              </p:cNvPr>
              <p:cNvSpPr>
                <a:spLocks/>
              </p:cNvSpPr>
              <p:nvPr/>
            </p:nvSpPr>
            <p:spPr bwMode="auto">
              <a:xfrm>
                <a:off x="3795713" y="3307556"/>
                <a:ext cx="71438" cy="74613"/>
              </a:xfrm>
              <a:custGeom>
                <a:avLst/>
                <a:gdLst>
                  <a:gd name="T0" fmla="*/ 244 w 244"/>
                  <a:gd name="T1" fmla="*/ 34 h 250"/>
                  <a:gd name="T2" fmla="*/ 244 w 244"/>
                  <a:gd name="T3" fmla="*/ 164 h 250"/>
                  <a:gd name="T4" fmla="*/ 234 w 244"/>
                  <a:gd name="T5" fmla="*/ 188 h 250"/>
                  <a:gd name="T6" fmla="*/ 174 w 244"/>
                  <a:gd name="T7" fmla="*/ 250 h 250"/>
                  <a:gd name="T8" fmla="*/ 0 w 244"/>
                  <a:gd name="T9" fmla="*/ 250 h 250"/>
                  <a:gd name="T10" fmla="*/ 0 w 244"/>
                  <a:gd name="T11" fmla="*/ 71 h 250"/>
                  <a:gd name="T12" fmla="*/ 60 w 244"/>
                  <a:gd name="T13" fmla="*/ 10 h 250"/>
                  <a:gd name="T14" fmla="*/ 84 w 244"/>
                  <a:gd name="T15" fmla="*/ 0 h 250"/>
                  <a:gd name="T16" fmla="*/ 210 w 244"/>
                  <a:gd name="T17" fmla="*/ 0 h 250"/>
                  <a:gd name="T18" fmla="*/ 244 w 244"/>
                  <a:gd name="T19" fmla="*/ 3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244" y="34"/>
                    </a:moveTo>
                    <a:lnTo>
                      <a:pt x="244" y="164"/>
                    </a:lnTo>
                    <a:cubicBezTo>
                      <a:pt x="244" y="173"/>
                      <a:pt x="241" y="182"/>
                      <a:pt x="234" y="188"/>
                    </a:cubicBezTo>
                    <a:lnTo>
                      <a:pt x="174" y="250"/>
                    </a:lnTo>
                    <a:lnTo>
                      <a:pt x="0" y="250"/>
                    </a:lnTo>
                    <a:lnTo>
                      <a:pt x="0" y="71"/>
                    </a:lnTo>
                    <a:lnTo>
                      <a:pt x="60" y="10"/>
                    </a:lnTo>
                    <a:cubicBezTo>
                      <a:pt x="66" y="3"/>
                      <a:pt x="75" y="0"/>
                      <a:pt x="84" y="0"/>
                    </a:cubicBezTo>
                    <a:lnTo>
                      <a:pt x="210" y="0"/>
                    </a:lnTo>
                    <a:cubicBezTo>
                      <a:pt x="229" y="0"/>
                      <a:pt x="244" y="15"/>
                      <a:pt x="244" y="34"/>
                    </a:cubicBez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63">
                <a:extLst>
                  <a:ext uri="{FF2B5EF4-FFF2-40B4-BE49-F238E27FC236}">
                    <a16:creationId xmlns:a16="http://schemas.microsoft.com/office/drawing/2014/main" id="{449EF37A-9E91-46B7-A9A8-A460798D56A2}"/>
                  </a:ext>
                </a:extLst>
              </p:cNvPr>
              <p:cNvSpPr>
                <a:spLocks/>
              </p:cNvSpPr>
              <p:nvPr/>
            </p:nvSpPr>
            <p:spPr bwMode="auto">
              <a:xfrm>
                <a:off x="3795713" y="3382169"/>
                <a:ext cx="71438" cy="74613"/>
              </a:xfrm>
              <a:custGeom>
                <a:avLst/>
                <a:gdLst>
                  <a:gd name="T0" fmla="*/ 210 w 244"/>
                  <a:gd name="T1" fmla="*/ 250 h 250"/>
                  <a:gd name="T2" fmla="*/ 84 w 244"/>
                  <a:gd name="T3" fmla="*/ 250 h 250"/>
                  <a:gd name="T4" fmla="*/ 60 w 244"/>
                  <a:gd name="T5" fmla="*/ 240 h 250"/>
                  <a:gd name="T6" fmla="*/ 0 w 244"/>
                  <a:gd name="T7" fmla="*/ 178 h 250"/>
                  <a:gd name="T8" fmla="*/ 0 w 244"/>
                  <a:gd name="T9" fmla="*/ 0 h 250"/>
                  <a:gd name="T10" fmla="*/ 174 w 244"/>
                  <a:gd name="T11" fmla="*/ 0 h 250"/>
                  <a:gd name="T12" fmla="*/ 234 w 244"/>
                  <a:gd name="T13" fmla="*/ 61 h 250"/>
                  <a:gd name="T14" fmla="*/ 244 w 244"/>
                  <a:gd name="T15" fmla="*/ 86 h 250"/>
                  <a:gd name="T16" fmla="*/ 244 w 244"/>
                  <a:gd name="T17" fmla="*/ 215 h 250"/>
                  <a:gd name="T18" fmla="*/ 210 w 244"/>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210" y="250"/>
                    </a:moveTo>
                    <a:lnTo>
                      <a:pt x="84" y="250"/>
                    </a:lnTo>
                    <a:cubicBezTo>
                      <a:pt x="75" y="250"/>
                      <a:pt x="66" y="246"/>
                      <a:pt x="60" y="240"/>
                    </a:cubicBezTo>
                    <a:lnTo>
                      <a:pt x="0" y="178"/>
                    </a:lnTo>
                    <a:lnTo>
                      <a:pt x="0" y="0"/>
                    </a:lnTo>
                    <a:lnTo>
                      <a:pt x="174" y="0"/>
                    </a:lnTo>
                    <a:lnTo>
                      <a:pt x="234" y="61"/>
                    </a:lnTo>
                    <a:cubicBezTo>
                      <a:pt x="241" y="68"/>
                      <a:pt x="244" y="76"/>
                      <a:pt x="244" y="86"/>
                    </a:cubicBezTo>
                    <a:lnTo>
                      <a:pt x="244" y="215"/>
                    </a:lnTo>
                    <a:cubicBezTo>
                      <a:pt x="244" y="234"/>
                      <a:pt x="229" y="250"/>
                      <a:pt x="210" y="250"/>
                    </a:cubicBez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64">
                <a:extLst>
                  <a:ext uri="{FF2B5EF4-FFF2-40B4-BE49-F238E27FC236}">
                    <a16:creationId xmlns:a16="http://schemas.microsoft.com/office/drawing/2014/main" id="{BBF6CFE9-DC8F-418C-9B05-E68D2D21A41B}"/>
                  </a:ext>
                </a:extLst>
              </p:cNvPr>
              <p:cNvSpPr>
                <a:spLocks/>
              </p:cNvSpPr>
              <p:nvPr/>
            </p:nvSpPr>
            <p:spPr bwMode="auto">
              <a:xfrm>
                <a:off x="3722688" y="3382169"/>
                <a:ext cx="73025" cy="74613"/>
              </a:xfrm>
              <a:custGeom>
                <a:avLst/>
                <a:gdLst>
                  <a:gd name="T0" fmla="*/ 0 w 244"/>
                  <a:gd name="T1" fmla="*/ 215 h 250"/>
                  <a:gd name="T2" fmla="*/ 0 w 244"/>
                  <a:gd name="T3" fmla="*/ 86 h 250"/>
                  <a:gd name="T4" fmla="*/ 10 w 244"/>
                  <a:gd name="T5" fmla="*/ 61 h 250"/>
                  <a:gd name="T6" fmla="*/ 70 w 244"/>
                  <a:gd name="T7" fmla="*/ 0 h 250"/>
                  <a:gd name="T8" fmla="*/ 244 w 244"/>
                  <a:gd name="T9" fmla="*/ 0 h 250"/>
                  <a:gd name="T10" fmla="*/ 244 w 244"/>
                  <a:gd name="T11" fmla="*/ 178 h 250"/>
                  <a:gd name="T12" fmla="*/ 184 w 244"/>
                  <a:gd name="T13" fmla="*/ 240 h 250"/>
                  <a:gd name="T14" fmla="*/ 160 w 244"/>
                  <a:gd name="T15" fmla="*/ 250 h 250"/>
                  <a:gd name="T16" fmla="*/ 34 w 244"/>
                  <a:gd name="T17" fmla="*/ 250 h 250"/>
                  <a:gd name="T18" fmla="*/ 0 w 244"/>
                  <a:gd name="T19" fmla="*/ 2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0" y="215"/>
                    </a:moveTo>
                    <a:lnTo>
                      <a:pt x="0" y="86"/>
                    </a:lnTo>
                    <a:cubicBezTo>
                      <a:pt x="0" y="76"/>
                      <a:pt x="4" y="68"/>
                      <a:pt x="10" y="61"/>
                    </a:cubicBezTo>
                    <a:lnTo>
                      <a:pt x="70" y="0"/>
                    </a:lnTo>
                    <a:lnTo>
                      <a:pt x="244" y="0"/>
                    </a:lnTo>
                    <a:lnTo>
                      <a:pt x="244" y="178"/>
                    </a:lnTo>
                    <a:lnTo>
                      <a:pt x="184" y="240"/>
                    </a:lnTo>
                    <a:cubicBezTo>
                      <a:pt x="178" y="246"/>
                      <a:pt x="169" y="250"/>
                      <a:pt x="160" y="250"/>
                    </a:cubicBezTo>
                    <a:lnTo>
                      <a:pt x="34" y="250"/>
                    </a:lnTo>
                    <a:cubicBezTo>
                      <a:pt x="15" y="250"/>
                      <a:pt x="0" y="234"/>
                      <a:pt x="0" y="215"/>
                    </a:cubicBez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65">
                <a:extLst>
                  <a:ext uri="{FF2B5EF4-FFF2-40B4-BE49-F238E27FC236}">
                    <a16:creationId xmlns:a16="http://schemas.microsoft.com/office/drawing/2014/main" id="{5D74A3D1-762F-46B5-8505-D1A1CCDB7FC8}"/>
                  </a:ext>
                </a:extLst>
              </p:cNvPr>
              <p:cNvSpPr>
                <a:spLocks/>
              </p:cNvSpPr>
              <p:nvPr/>
            </p:nvSpPr>
            <p:spPr bwMode="auto">
              <a:xfrm>
                <a:off x="3722688" y="3307556"/>
                <a:ext cx="73025" cy="74613"/>
              </a:xfrm>
              <a:custGeom>
                <a:avLst/>
                <a:gdLst>
                  <a:gd name="T0" fmla="*/ 34 w 244"/>
                  <a:gd name="T1" fmla="*/ 0 h 250"/>
                  <a:gd name="T2" fmla="*/ 160 w 244"/>
                  <a:gd name="T3" fmla="*/ 0 h 250"/>
                  <a:gd name="T4" fmla="*/ 184 w 244"/>
                  <a:gd name="T5" fmla="*/ 10 h 250"/>
                  <a:gd name="T6" fmla="*/ 244 w 244"/>
                  <a:gd name="T7" fmla="*/ 71 h 250"/>
                  <a:gd name="T8" fmla="*/ 244 w 244"/>
                  <a:gd name="T9" fmla="*/ 250 h 250"/>
                  <a:gd name="T10" fmla="*/ 70 w 244"/>
                  <a:gd name="T11" fmla="*/ 250 h 250"/>
                  <a:gd name="T12" fmla="*/ 10 w 244"/>
                  <a:gd name="T13" fmla="*/ 188 h 250"/>
                  <a:gd name="T14" fmla="*/ 0 w 244"/>
                  <a:gd name="T15" fmla="*/ 164 h 250"/>
                  <a:gd name="T16" fmla="*/ 0 w 244"/>
                  <a:gd name="T17" fmla="*/ 34 h 250"/>
                  <a:gd name="T18" fmla="*/ 34 w 244"/>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50">
                    <a:moveTo>
                      <a:pt x="34" y="0"/>
                    </a:moveTo>
                    <a:lnTo>
                      <a:pt x="160" y="0"/>
                    </a:lnTo>
                    <a:cubicBezTo>
                      <a:pt x="169" y="0"/>
                      <a:pt x="178" y="3"/>
                      <a:pt x="184" y="10"/>
                    </a:cubicBezTo>
                    <a:lnTo>
                      <a:pt x="244" y="71"/>
                    </a:lnTo>
                    <a:lnTo>
                      <a:pt x="244" y="250"/>
                    </a:lnTo>
                    <a:lnTo>
                      <a:pt x="70" y="250"/>
                    </a:lnTo>
                    <a:lnTo>
                      <a:pt x="10" y="188"/>
                    </a:lnTo>
                    <a:cubicBezTo>
                      <a:pt x="4" y="182"/>
                      <a:pt x="0" y="173"/>
                      <a:pt x="0" y="164"/>
                    </a:cubicBezTo>
                    <a:lnTo>
                      <a:pt x="0" y="34"/>
                    </a:lnTo>
                    <a:cubicBezTo>
                      <a:pt x="0" y="15"/>
                      <a:pt x="15" y="0"/>
                      <a:pt x="34" y="0"/>
                    </a:cubicBezTo>
                    <a:close/>
                  </a:path>
                </a:pathLst>
              </a:custGeom>
              <a:solidFill>
                <a:srgbClr val="50D9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Rectangle 166">
                <a:extLst>
                  <a:ext uri="{FF2B5EF4-FFF2-40B4-BE49-F238E27FC236}">
                    <a16:creationId xmlns:a16="http://schemas.microsoft.com/office/drawing/2014/main" id="{FF96B663-E386-4C2A-8C48-DB2F33E2A8C8}"/>
                  </a:ext>
                </a:extLst>
              </p:cNvPr>
              <p:cNvSpPr>
                <a:spLocks noChangeArrowheads="1"/>
              </p:cNvSpPr>
              <p:nvPr/>
            </p:nvSpPr>
            <p:spPr bwMode="auto">
              <a:xfrm>
                <a:off x="3721101" y="3340894"/>
                <a:ext cx="95250"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67">
                <a:extLst>
                  <a:ext uri="{FF2B5EF4-FFF2-40B4-BE49-F238E27FC236}">
                    <a16:creationId xmlns:a16="http://schemas.microsoft.com/office/drawing/2014/main" id="{B0ABCCD3-4E83-4C45-827E-639FCC2735A2}"/>
                  </a:ext>
                </a:extLst>
              </p:cNvPr>
              <p:cNvSpPr>
                <a:spLocks/>
              </p:cNvSpPr>
              <p:nvPr/>
            </p:nvSpPr>
            <p:spPr bwMode="auto">
              <a:xfrm>
                <a:off x="3722688" y="3340894"/>
                <a:ext cx="88900" cy="100013"/>
              </a:xfrm>
              <a:custGeom>
                <a:avLst/>
                <a:gdLst>
                  <a:gd name="T0" fmla="*/ 244 w 298"/>
                  <a:gd name="T1" fmla="*/ 317 h 333"/>
                  <a:gd name="T2" fmla="*/ 260 w 298"/>
                  <a:gd name="T3" fmla="*/ 333 h 333"/>
                  <a:gd name="T4" fmla="*/ 265 w 298"/>
                  <a:gd name="T5" fmla="*/ 333 h 333"/>
                  <a:gd name="T6" fmla="*/ 298 w 298"/>
                  <a:gd name="T7" fmla="*/ 301 h 333"/>
                  <a:gd name="T8" fmla="*/ 298 w 298"/>
                  <a:gd name="T9" fmla="*/ 28 h 333"/>
                  <a:gd name="T10" fmla="*/ 270 w 298"/>
                  <a:gd name="T11" fmla="*/ 0 h 333"/>
                  <a:gd name="T12" fmla="*/ 0 w 298"/>
                  <a:gd name="T13" fmla="*/ 0 h 333"/>
                  <a:gd name="T14" fmla="*/ 0 w 298"/>
                  <a:gd name="T15" fmla="*/ 53 h 333"/>
                  <a:gd name="T16" fmla="*/ 10 w 298"/>
                  <a:gd name="T17" fmla="*/ 77 h 333"/>
                  <a:gd name="T18" fmla="*/ 70 w 298"/>
                  <a:gd name="T19" fmla="*/ 139 h 333"/>
                  <a:gd name="T20" fmla="*/ 10 w 298"/>
                  <a:gd name="T21" fmla="*/ 200 h 333"/>
                  <a:gd name="T22" fmla="*/ 0 w 298"/>
                  <a:gd name="T23" fmla="*/ 225 h 333"/>
                  <a:gd name="T24" fmla="*/ 0 w 298"/>
                  <a:gd name="T25" fmla="*/ 333 h 333"/>
                  <a:gd name="T26" fmla="*/ 229 w 298"/>
                  <a:gd name="T27" fmla="*/ 333 h 333"/>
                  <a:gd name="T28" fmla="*/ 244 w 298"/>
                  <a:gd name="T29" fmla="*/ 31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333">
                    <a:moveTo>
                      <a:pt x="244" y="317"/>
                    </a:moveTo>
                    <a:lnTo>
                      <a:pt x="260" y="333"/>
                    </a:lnTo>
                    <a:lnTo>
                      <a:pt x="265" y="333"/>
                    </a:lnTo>
                    <a:cubicBezTo>
                      <a:pt x="282" y="333"/>
                      <a:pt x="296" y="319"/>
                      <a:pt x="298" y="301"/>
                    </a:cubicBezTo>
                    <a:lnTo>
                      <a:pt x="298" y="28"/>
                    </a:lnTo>
                    <a:cubicBezTo>
                      <a:pt x="298" y="12"/>
                      <a:pt x="286" y="0"/>
                      <a:pt x="270" y="0"/>
                    </a:cubicBezTo>
                    <a:lnTo>
                      <a:pt x="0" y="0"/>
                    </a:lnTo>
                    <a:lnTo>
                      <a:pt x="0" y="53"/>
                    </a:lnTo>
                    <a:cubicBezTo>
                      <a:pt x="0" y="62"/>
                      <a:pt x="4" y="71"/>
                      <a:pt x="10" y="77"/>
                    </a:cubicBezTo>
                    <a:lnTo>
                      <a:pt x="70" y="139"/>
                    </a:lnTo>
                    <a:lnTo>
                      <a:pt x="10" y="200"/>
                    </a:lnTo>
                    <a:cubicBezTo>
                      <a:pt x="4" y="207"/>
                      <a:pt x="0" y="215"/>
                      <a:pt x="0" y="225"/>
                    </a:cubicBezTo>
                    <a:lnTo>
                      <a:pt x="0" y="333"/>
                    </a:lnTo>
                    <a:lnTo>
                      <a:pt x="229" y="333"/>
                    </a:lnTo>
                    <a:lnTo>
                      <a:pt x="244" y="317"/>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Rectangle 168">
                <a:extLst>
                  <a:ext uri="{FF2B5EF4-FFF2-40B4-BE49-F238E27FC236}">
                    <a16:creationId xmlns:a16="http://schemas.microsoft.com/office/drawing/2014/main" id="{5958E8C4-8B74-44E3-BE7F-12372DA9CE0E}"/>
                  </a:ext>
                </a:extLst>
              </p:cNvPr>
              <p:cNvSpPr>
                <a:spLocks noChangeArrowheads="1"/>
              </p:cNvSpPr>
              <p:nvPr/>
            </p:nvSpPr>
            <p:spPr bwMode="auto">
              <a:xfrm>
                <a:off x="3721101" y="3340894"/>
                <a:ext cx="95250"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69">
                <a:extLst>
                  <a:ext uri="{FF2B5EF4-FFF2-40B4-BE49-F238E27FC236}">
                    <a16:creationId xmlns:a16="http://schemas.microsoft.com/office/drawing/2014/main" id="{E38613E6-D1E2-4248-A057-47D67BE99D5D}"/>
                  </a:ext>
                </a:extLst>
              </p:cNvPr>
              <p:cNvSpPr>
                <a:spLocks/>
              </p:cNvSpPr>
              <p:nvPr/>
            </p:nvSpPr>
            <p:spPr bwMode="auto">
              <a:xfrm>
                <a:off x="3706813" y="3332956"/>
                <a:ext cx="96838" cy="100013"/>
              </a:xfrm>
              <a:custGeom>
                <a:avLst/>
                <a:gdLst>
                  <a:gd name="T0" fmla="*/ 27 w 325"/>
                  <a:gd name="T1" fmla="*/ 0 h 334"/>
                  <a:gd name="T2" fmla="*/ 298 w 325"/>
                  <a:gd name="T3" fmla="*/ 0 h 334"/>
                  <a:gd name="T4" fmla="*/ 325 w 325"/>
                  <a:gd name="T5" fmla="*/ 28 h 334"/>
                  <a:gd name="T6" fmla="*/ 325 w 325"/>
                  <a:gd name="T7" fmla="*/ 306 h 334"/>
                  <a:gd name="T8" fmla="*/ 298 w 325"/>
                  <a:gd name="T9" fmla="*/ 334 h 334"/>
                  <a:gd name="T10" fmla="*/ 27 w 325"/>
                  <a:gd name="T11" fmla="*/ 334 h 334"/>
                  <a:gd name="T12" fmla="*/ 0 w 325"/>
                  <a:gd name="T13" fmla="*/ 306 h 334"/>
                  <a:gd name="T14" fmla="*/ 0 w 325"/>
                  <a:gd name="T15" fmla="*/ 28 h 334"/>
                  <a:gd name="T16" fmla="*/ 27 w 325"/>
                  <a:gd name="T1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5" h="334">
                    <a:moveTo>
                      <a:pt x="27" y="0"/>
                    </a:moveTo>
                    <a:lnTo>
                      <a:pt x="298" y="0"/>
                    </a:lnTo>
                    <a:cubicBezTo>
                      <a:pt x="313" y="0"/>
                      <a:pt x="325" y="12"/>
                      <a:pt x="325" y="28"/>
                    </a:cubicBezTo>
                    <a:lnTo>
                      <a:pt x="325" y="306"/>
                    </a:lnTo>
                    <a:cubicBezTo>
                      <a:pt x="325" y="321"/>
                      <a:pt x="313" y="334"/>
                      <a:pt x="298" y="334"/>
                    </a:cubicBezTo>
                    <a:lnTo>
                      <a:pt x="27" y="334"/>
                    </a:lnTo>
                    <a:cubicBezTo>
                      <a:pt x="12" y="334"/>
                      <a:pt x="0" y="321"/>
                      <a:pt x="0" y="306"/>
                    </a:cubicBezTo>
                    <a:lnTo>
                      <a:pt x="0" y="28"/>
                    </a:lnTo>
                    <a:cubicBezTo>
                      <a:pt x="0" y="12"/>
                      <a:pt x="12" y="0"/>
                      <a:pt x="27" y="0"/>
                    </a:cubicBez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70">
                <a:extLst>
                  <a:ext uri="{FF2B5EF4-FFF2-40B4-BE49-F238E27FC236}">
                    <a16:creationId xmlns:a16="http://schemas.microsoft.com/office/drawing/2014/main" id="{DF35F251-78FC-4E5D-800F-888D98ED53FA}"/>
                  </a:ext>
                </a:extLst>
              </p:cNvPr>
              <p:cNvSpPr>
                <a:spLocks/>
              </p:cNvSpPr>
              <p:nvPr/>
            </p:nvSpPr>
            <p:spPr bwMode="auto">
              <a:xfrm>
                <a:off x="3735388" y="3352006"/>
                <a:ext cx="38100" cy="60325"/>
              </a:xfrm>
              <a:custGeom>
                <a:avLst/>
                <a:gdLst>
                  <a:gd name="T0" fmla="*/ 23 w 24"/>
                  <a:gd name="T1" fmla="*/ 7 h 38"/>
                  <a:gd name="T2" fmla="*/ 7 w 24"/>
                  <a:gd name="T3" fmla="*/ 7 h 38"/>
                  <a:gd name="T4" fmla="*/ 7 w 24"/>
                  <a:gd name="T5" fmla="*/ 16 h 38"/>
                  <a:gd name="T6" fmla="*/ 22 w 24"/>
                  <a:gd name="T7" fmla="*/ 16 h 38"/>
                  <a:gd name="T8" fmla="*/ 22 w 24"/>
                  <a:gd name="T9" fmla="*/ 22 h 38"/>
                  <a:gd name="T10" fmla="*/ 7 w 24"/>
                  <a:gd name="T11" fmla="*/ 22 h 38"/>
                  <a:gd name="T12" fmla="*/ 7 w 24"/>
                  <a:gd name="T13" fmla="*/ 32 h 38"/>
                  <a:gd name="T14" fmla="*/ 24 w 24"/>
                  <a:gd name="T15" fmla="*/ 32 h 38"/>
                  <a:gd name="T16" fmla="*/ 24 w 24"/>
                  <a:gd name="T17" fmla="*/ 38 h 38"/>
                  <a:gd name="T18" fmla="*/ 0 w 24"/>
                  <a:gd name="T19" fmla="*/ 38 h 38"/>
                  <a:gd name="T20" fmla="*/ 0 w 24"/>
                  <a:gd name="T21" fmla="*/ 0 h 38"/>
                  <a:gd name="T22" fmla="*/ 23 w 24"/>
                  <a:gd name="T23" fmla="*/ 0 h 38"/>
                  <a:gd name="T24" fmla="*/ 23 w 24"/>
                  <a:gd name="T25" fmla="*/ 7 h 38"/>
                  <a:gd name="T26" fmla="*/ 23 w 24"/>
                  <a:gd name="T27"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8">
                    <a:moveTo>
                      <a:pt x="23" y="7"/>
                    </a:moveTo>
                    <a:lnTo>
                      <a:pt x="7" y="7"/>
                    </a:lnTo>
                    <a:lnTo>
                      <a:pt x="7" y="16"/>
                    </a:lnTo>
                    <a:lnTo>
                      <a:pt x="22" y="16"/>
                    </a:lnTo>
                    <a:lnTo>
                      <a:pt x="22" y="22"/>
                    </a:lnTo>
                    <a:lnTo>
                      <a:pt x="7" y="22"/>
                    </a:lnTo>
                    <a:lnTo>
                      <a:pt x="7" y="32"/>
                    </a:lnTo>
                    <a:lnTo>
                      <a:pt x="24" y="32"/>
                    </a:lnTo>
                    <a:lnTo>
                      <a:pt x="24" y="38"/>
                    </a:lnTo>
                    <a:lnTo>
                      <a:pt x="0" y="38"/>
                    </a:lnTo>
                    <a:lnTo>
                      <a:pt x="0" y="0"/>
                    </a:lnTo>
                    <a:lnTo>
                      <a:pt x="23" y="0"/>
                    </a:lnTo>
                    <a:lnTo>
                      <a:pt x="23" y="7"/>
                    </a:lnTo>
                    <a:lnTo>
                      <a:pt x="2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1">
                <a:extLst>
                  <a:ext uri="{FF2B5EF4-FFF2-40B4-BE49-F238E27FC236}">
                    <a16:creationId xmlns:a16="http://schemas.microsoft.com/office/drawing/2014/main" id="{E56EA06A-0091-47AA-BFE4-BD3BCEAD7C63}"/>
                  </a:ext>
                </a:extLst>
              </p:cNvPr>
              <p:cNvSpPr>
                <a:spLocks/>
              </p:cNvSpPr>
              <p:nvPr/>
            </p:nvSpPr>
            <p:spPr bwMode="auto">
              <a:xfrm>
                <a:off x="4200526" y="3307556"/>
                <a:ext cx="111125" cy="80963"/>
              </a:xfrm>
              <a:custGeom>
                <a:avLst/>
                <a:gdLst>
                  <a:gd name="T0" fmla="*/ 224 w 369"/>
                  <a:gd name="T1" fmla="*/ 273 h 273"/>
                  <a:gd name="T2" fmla="*/ 369 w 369"/>
                  <a:gd name="T3" fmla="*/ 182 h 273"/>
                  <a:gd name="T4" fmla="*/ 122 w 369"/>
                  <a:gd name="T5" fmla="*/ 29 h 273"/>
                  <a:gd name="T6" fmla="*/ 0 w 369"/>
                  <a:gd name="T7" fmla="*/ 124 h 273"/>
                  <a:gd name="T8" fmla="*/ 224 w 369"/>
                  <a:gd name="T9" fmla="*/ 273 h 273"/>
                </a:gdLst>
                <a:ahLst/>
                <a:cxnLst>
                  <a:cxn ang="0">
                    <a:pos x="T0" y="T1"/>
                  </a:cxn>
                  <a:cxn ang="0">
                    <a:pos x="T2" y="T3"/>
                  </a:cxn>
                  <a:cxn ang="0">
                    <a:pos x="T4" y="T5"/>
                  </a:cxn>
                  <a:cxn ang="0">
                    <a:pos x="T6" y="T7"/>
                  </a:cxn>
                  <a:cxn ang="0">
                    <a:pos x="T8" y="T9"/>
                  </a:cxn>
                </a:cxnLst>
                <a:rect l="0" t="0" r="r" b="b"/>
                <a:pathLst>
                  <a:path w="369" h="273">
                    <a:moveTo>
                      <a:pt x="224" y="273"/>
                    </a:moveTo>
                    <a:lnTo>
                      <a:pt x="369" y="182"/>
                    </a:lnTo>
                    <a:cubicBezTo>
                      <a:pt x="341" y="68"/>
                      <a:pt x="231" y="0"/>
                      <a:pt x="122" y="29"/>
                    </a:cubicBezTo>
                    <a:cubicBezTo>
                      <a:pt x="71" y="43"/>
                      <a:pt x="27" y="77"/>
                      <a:pt x="0" y="124"/>
                    </a:cubicBezTo>
                    <a:lnTo>
                      <a:pt x="224" y="273"/>
                    </a:lnTo>
                    <a:close/>
                  </a:path>
                </a:pathLst>
              </a:custGeom>
              <a:solidFill>
                <a:srgbClr val="0364B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72">
                <a:extLst>
                  <a:ext uri="{FF2B5EF4-FFF2-40B4-BE49-F238E27FC236}">
                    <a16:creationId xmlns:a16="http://schemas.microsoft.com/office/drawing/2014/main" id="{13F547A4-44A0-4F6F-9678-393AAD06BA35}"/>
                  </a:ext>
                </a:extLst>
              </p:cNvPr>
              <p:cNvSpPr>
                <a:spLocks/>
              </p:cNvSpPr>
              <p:nvPr/>
            </p:nvSpPr>
            <p:spPr bwMode="auto">
              <a:xfrm>
                <a:off x="4154488" y="3342481"/>
                <a:ext cx="114300" cy="79375"/>
              </a:xfrm>
              <a:custGeom>
                <a:avLst/>
                <a:gdLst>
                  <a:gd name="T0" fmla="*/ 248 w 384"/>
                  <a:gd name="T1" fmla="*/ 25 h 267"/>
                  <a:gd name="T2" fmla="*/ 248 w 384"/>
                  <a:gd name="T3" fmla="*/ 25 h 267"/>
                  <a:gd name="T4" fmla="*/ 163 w 384"/>
                  <a:gd name="T5" fmla="*/ 0 h 267"/>
                  <a:gd name="T6" fmla="*/ 161 w 384"/>
                  <a:gd name="T7" fmla="*/ 0 h 267"/>
                  <a:gd name="T8" fmla="*/ 1 w 384"/>
                  <a:gd name="T9" fmla="*/ 172 h 267"/>
                  <a:gd name="T10" fmla="*/ 30 w 384"/>
                  <a:gd name="T11" fmla="*/ 267 h 267"/>
                  <a:gd name="T12" fmla="*/ 239 w 384"/>
                  <a:gd name="T13" fmla="*/ 232 h 267"/>
                  <a:gd name="T14" fmla="*/ 384 w 384"/>
                  <a:gd name="T15" fmla="*/ 111 h 267"/>
                  <a:gd name="T16" fmla="*/ 248 w 384"/>
                  <a:gd name="T17" fmla="*/ 2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267">
                    <a:moveTo>
                      <a:pt x="248" y="25"/>
                    </a:moveTo>
                    <a:lnTo>
                      <a:pt x="248" y="25"/>
                    </a:lnTo>
                    <a:cubicBezTo>
                      <a:pt x="223" y="9"/>
                      <a:pt x="193" y="0"/>
                      <a:pt x="163" y="0"/>
                    </a:cubicBezTo>
                    <a:cubicBezTo>
                      <a:pt x="163" y="0"/>
                      <a:pt x="162" y="0"/>
                      <a:pt x="161" y="0"/>
                    </a:cubicBezTo>
                    <a:cubicBezTo>
                      <a:pt x="72" y="1"/>
                      <a:pt x="0" y="78"/>
                      <a:pt x="1" y="172"/>
                    </a:cubicBezTo>
                    <a:cubicBezTo>
                      <a:pt x="2" y="206"/>
                      <a:pt x="12" y="239"/>
                      <a:pt x="30" y="267"/>
                    </a:cubicBezTo>
                    <a:lnTo>
                      <a:pt x="239" y="232"/>
                    </a:lnTo>
                    <a:lnTo>
                      <a:pt x="384" y="111"/>
                    </a:lnTo>
                    <a:lnTo>
                      <a:pt x="248" y="25"/>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173">
                <a:extLst>
                  <a:ext uri="{FF2B5EF4-FFF2-40B4-BE49-F238E27FC236}">
                    <a16:creationId xmlns:a16="http://schemas.microsoft.com/office/drawing/2014/main" id="{C4BB6910-567A-4249-B9B9-D1C54DCC5535}"/>
                  </a:ext>
                </a:extLst>
              </p:cNvPr>
              <p:cNvSpPr>
                <a:spLocks/>
              </p:cNvSpPr>
              <p:nvPr/>
            </p:nvSpPr>
            <p:spPr bwMode="auto">
              <a:xfrm>
                <a:off x="4268788" y="3361531"/>
                <a:ext cx="84138" cy="60325"/>
              </a:xfrm>
              <a:custGeom>
                <a:avLst/>
                <a:gdLst>
                  <a:gd name="T0" fmla="*/ 142 w 283"/>
                  <a:gd name="T1" fmla="*/ 1 h 204"/>
                  <a:gd name="T2" fmla="*/ 133 w 283"/>
                  <a:gd name="T3" fmla="*/ 0 h 204"/>
                  <a:gd name="T4" fmla="*/ 81 w 283"/>
                  <a:gd name="T5" fmla="*/ 12 h 204"/>
                  <a:gd name="T6" fmla="*/ 81 w 283"/>
                  <a:gd name="T7" fmla="*/ 12 h 204"/>
                  <a:gd name="T8" fmla="*/ 0 w 283"/>
                  <a:gd name="T9" fmla="*/ 47 h 204"/>
                  <a:gd name="T10" fmla="*/ 89 w 283"/>
                  <a:gd name="T11" fmla="*/ 166 h 204"/>
                  <a:gd name="T12" fmla="*/ 249 w 283"/>
                  <a:gd name="T13" fmla="*/ 204 h 204"/>
                  <a:gd name="T14" fmla="*/ 196 w 283"/>
                  <a:gd name="T15" fmla="*/ 17 h 204"/>
                  <a:gd name="T16" fmla="*/ 142 w 283"/>
                  <a:gd name="T17" fmla="*/ 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04">
                    <a:moveTo>
                      <a:pt x="142" y="1"/>
                    </a:moveTo>
                    <a:cubicBezTo>
                      <a:pt x="139" y="0"/>
                      <a:pt x="136" y="0"/>
                      <a:pt x="133" y="0"/>
                    </a:cubicBezTo>
                    <a:cubicBezTo>
                      <a:pt x="115" y="0"/>
                      <a:pt x="97" y="4"/>
                      <a:pt x="81" y="12"/>
                    </a:cubicBezTo>
                    <a:lnTo>
                      <a:pt x="81" y="12"/>
                    </a:lnTo>
                    <a:lnTo>
                      <a:pt x="0" y="47"/>
                    </a:lnTo>
                    <a:lnTo>
                      <a:pt x="89" y="166"/>
                    </a:lnTo>
                    <a:lnTo>
                      <a:pt x="249" y="204"/>
                    </a:lnTo>
                    <a:cubicBezTo>
                      <a:pt x="283" y="137"/>
                      <a:pt x="259" y="53"/>
                      <a:pt x="196" y="17"/>
                    </a:cubicBezTo>
                    <a:cubicBezTo>
                      <a:pt x="179" y="7"/>
                      <a:pt x="161" y="2"/>
                      <a:pt x="142" y="1"/>
                    </a:cubicBezTo>
                    <a:close/>
                  </a:path>
                </a:pathLst>
              </a:custGeom>
              <a:solidFill>
                <a:srgbClr val="1490D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74">
                <a:extLst>
                  <a:ext uri="{FF2B5EF4-FFF2-40B4-BE49-F238E27FC236}">
                    <a16:creationId xmlns:a16="http://schemas.microsoft.com/office/drawing/2014/main" id="{EDD54217-091F-4205-A570-1F91574D0C5A}"/>
                  </a:ext>
                </a:extLst>
              </p:cNvPr>
              <p:cNvSpPr>
                <a:spLocks/>
              </p:cNvSpPr>
              <p:nvPr/>
            </p:nvSpPr>
            <p:spPr bwMode="auto">
              <a:xfrm>
                <a:off x="4164013" y="3375819"/>
                <a:ext cx="179388" cy="68263"/>
              </a:xfrm>
              <a:custGeom>
                <a:avLst/>
                <a:gdLst>
                  <a:gd name="T0" fmla="*/ 354 w 603"/>
                  <a:gd name="T1" fmla="*/ 0 h 229"/>
                  <a:gd name="T2" fmla="*/ 0 w 603"/>
                  <a:gd name="T3" fmla="*/ 156 h 229"/>
                  <a:gd name="T4" fmla="*/ 133 w 603"/>
                  <a:gd name="T5" fmla="*/ 229 h 229"/>
                  <a:gd name="T6" fmla="*/ 487 w 603"/>
                  <a:gd name="T7" fmla="*/ 229 h 229"/>
                  <a:gd name="T8" fmla="*/ 603 w 603"/>
                  <a:gd name="T9" fmla="*/ 156 h 229"/>
                  <a:gd name="T10" fmla="*/ 354 w 603"/>
                  <a:gd name="T11" fmla="*/ 0 h 229"/>
                </a:gdLst>
                <a:ahLst/>
                <a:cxnLst>
                  <a:cxn ang="0">
                    <a:pos x="T0" y="T1"/>
                  </a:cxn>
                  <a:cxn ang="0">
                    <a:pos x="T2" y="T3"/>
                  </a:cxn>
                  <a:cxn ang="0">
                    <a:pos x="T4" y="T5"/>
                  </a:cxn>
                  <a:cxn ang="0">
                    <a:pos x="T6" y="T7"/>
                  </a:cxn>
                  <a:cxn ang="0">
                    <a:pos x="T8" y="T9"/>
                  </a:cxn>
                  <a:cxn ang="0">
                    <a:pos x="T10" y="T11"/>
                  </a:cxn>
                </a:cxnLst>
                <a:rect l="0" t="0" r="r" b="b"/>
                <a:pathLst>
                  <a:path w="603" h="229">
                    <a:moveTo>
                      <a:pt x="354" y="0"/>
                    </a:moveTo>
                    <a:lnTo>
                      <a:pt x="0" y="156"/>
                    </a:lnTo>
                    <a:cubicBezTo>
                      <a:pt x="31" y="201"/>
                      <a:pt x="80" y="229"/>
                      <a:pt x="133" y="229"/>
                    </a:cubicBezTo>
                    <a:lnTo>
                      <a:pt x="487" y="229"/>
                    </a:lnTo>
                    <a:cubicBezTo>
                      <a:pt x="536" y="229"/>
                      <a:pt x="580" y="201"/>
                      <a:pt x="603" y="156"/>
                    </a:cubicBezTo>
                    <a:lnTo>
                      <a:pt x="354" y="0"/>
                    </a:lnTo>
                    <a:close/>
                  </a:path>
                </a:pathLst>
              </a:custGeom>
              <a:solidFill>
                <a:srgbClr val="28A8E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5">
                <a:extLst>
                  <a:ext uri="{FF2B5EF4-FFF2-40B4-BE49-F238E27FC236}">
                    <a16:creationId xmlns:a16="http://schemas.microsoft.com/office/drawing/2014/main" id="{1A06EB66-6D47-4189-8BE0-0D282B12F655}"/>
                  </a:ext>
                </a:extLst>
              </p:cNvPr>
              <p:cNvSpPr>
                <a:spLocks/>
              </p:cNvSpPr>
              <p:nvPr/>
            </p:nvSpPr>
            <p:spPr bwMode="auto">
              <a:xfrm>
                <a:off x="4514851" y="3366294"/>
                <a:ext cx="46038" cy="71438"/>
              </a:xfrm>
              <a:custGeom>
                <a:avLst/>
                <a:gdLst>
                  <a:gd name="T0" fmla="*/ 133 w 156"/>
                  <a:gd name="T1" fmla="*/ 0 h 243"/>
                  <a:gd name="T2" fmla="*/ 29 w 156"/>
                  <a:gd name="T3" fmla="*/ 0 h 243"/>
                  <a:gd name="T4" fmla="*/ 0 w 156"/>
                  <a:gd name="T5" fmla="*/ 26 h 243"/>
                  <a:gd name="T6" fmla="*/ 0 w 156"/>
                  <a:gd name="T7" fmla="*/ 156 h 243"/>
                  <a:gd name="T8" fmla="*/ 78 w 156"/>
                  <a:gd name="T9" fmla="*/ 243 h 243"/>
                  <a:gd name="T10" fmla="*/ 156 w 156"/>
                  <a:gd name="T11" fmla="*/ 156 h 243"/>
                  <a:gd name="T12" fmla="*/ 156 w 156"/>
                  <a:gd name="T13" fmla="*/ 26 h 243"/>
                  <a:gd name="T14" fmla="*/ 133 w 156"/>
                  <a:gd name="T15" fmla="*/ 0 h 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43">
                    <a:moveTo>
                      <a:pt x="133" y="0"/>
                    </a:moveTo>
                    <a:lnTo>
                      <a:pt x="29" y="0"/>
                    </a:lnTo>
                    <a:lnTo>
                      <a:pt x="0" y="26"/>
                    </a:lnTo>
                    <a:lnTo>
                      <a:pt x="0" y="156"/>
                    </a:lnTo>
                    <a:cubicBezTo>
                      <a:pt x="0" y="204"/>
                      <a:pt x="35" y="243"/>
                      <a:pt x="78" y="243"/>
                    </a:cubicBezTo>
                    <a:cubicBezTo>
                      <a:pt x="121" y="243"/>
                      <a:pt x="156" y="204"/>
                      <a:pt x="156" y="156"/>
                    </a:cubicBezTo>
                    <a:lnTo>
                      <a:pt x="156" y="26"/>
                    </a:lnTo>
                    <a:cubicBezTo>
                      <a:pt x="156" y="11"/>
                      <a:pt x="146" y="0"/>
                      <a:pt x="133"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Oval 176">
                <a:extLst>
                  <a:ext uri="{FF2B5EF4-FFF2-40B4-BE49-F238E27FC236}">
                    <a16:creationId xmlns:a16="http://schemas.microsoft.com/office/drawing/2014/main" id="{ED35835A-C149-49AB-B8BC-759B1C22467C}"/>
                  </a:ext>
                </a:extLst>
              </p:cNvPr>
              <p:cNvSpPr>
                <a:spLocks noChangeArrowheads="1"/>
              </p:cNvSpPr>
              <p:nvPr/>
            </p:nvSpPr>
            <p:spPr bwMode="auto">
              <a:xfrm>
                <a:off x="4532313" y="3323431"/>
                <a:ext cx="30163" cy="33338"/>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7">
                <a:extLst>
                  <a:ext uri="{FF2B5EF4-FFF2-40B4-BE49-F238E27FC236}">
                    <a16:creationId xmlns:a16="http://schemas.microsoft.com/office/drawing/2014/main" id="{1B04395D-B3D6-4D1C-89A1-8FCD9FC46965}"/>
                  </a:ext>
                </a:extLst>
              </p:cNvPr>
              <p:cNvSpPr>
                <a:spLocks/>
              </p:cNvSpPr>
              <p:nvPr/>
            </p:nvSpPr>
            <p:spPr bwMode="auto">
              <a:xfrm>
                <a:off x="4465638" y="3366294"/>
                <a:ext cx="66675" cy="90488"/>
              </a:xfrm>
              <a:custGeom>
                <a:avLst/>
                <a:gdLst>
                  <a:gd name="T0" fmla="*/ 22 w 225"/>
                  <a:gd name="T1" fmla="*/ 0 h 307"/>
                  <a:gd name="T2" fmla="*/ 202 w 225"/>
                  <a:gd name="T3" fmla="*/ 0 h 307"/>
                  <a:gd name="T4" fmla="*/ 225 w 225"/>
                  <a:gd name="T5" fmla="*/ 25 h 307"/>
                  <a:gd name="T6" fmla="*/ 225 w 225"/>
                  <a:gd name="T7" fmla="*/ 184 h 307"/>
                  <a:gd name="T8" fmla="*/ 114 w 225"/>
                  <a:gd name="T9" fmla="*/ 307 h 307"/>
                  <a:gd name="T10" fmla="*/ 110 w 225"/>
                  <a:gd name="T11" fmla="*/ 307 h 307"/>
                  <a:gd name="T12" fmla="*/ 0 w 225"/>
                  <a:gd name="T13" fmla="*/ 184 h 307"/>
                  <a:gd name="T14" fmla="*/ 0 w 225"/>
                  <a:gd name="T15" fmla="*/ 25 h 307"/>
                  <a:gd name="T16" fmla="*/ 22 w 225"/>
                  <a:gd name="T1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307">
                    <a:moveTo>
                      <a:pt x="22" y="0"/>
                    </a:moveTo>
                    <a:lnTo>
                      <a:pt x="202" y="0"/>
                    </a:lnTo>
                    <a:cubicBezTo>
                      <a:pt x="215" y="0"/>
                      <a:pt x="225" y="11"/>
                      <a:pt x="225" y="25"/>
                    </a:cubicBezTo>
                    <a:lnTo>
                      <a:pt x="225" y="184"/>
                    </a:lnTo>
                    <a:cubicBezTo>
                      <a:pt x="225" y="252"/>
                      <a:pt x="175" y="307"/>
                      <a:pt x="114" y="307"/>
                    </a:cubicBezTo>
                    <a:lnTo>
                      <a:pt x="110" y="307"/>
                    </a:lnTo>
                    <a:cubicBezTo>
                      <a:pt x="49" y="307"/>
                      <a:pt x="0" y="252"/>
                      <a:pt x="0" y="184"/>
                    </a:cubicBezTo>
                    <a:lnTo>
                      <a:pt x="0" y="25"/>
                    </a:lnTo>
                    <a:cubicBezTo>
                      <a:pt x="0" y="11"/>
                      <a:pt x="10" y="0"/>
                      <a:pt x="22"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Oval 178">
                <a:extLst>
                  <a:ext uri="{FF2B5EF4-FFF2-40B4-BE49-F238E27FC236}">
                    <a16:creationId xmlns:a16="http://schemas.microsoft.com/office/drawing/2014/main" id="{695EB51B-38D2-4705-AD2E-D8003CB6795F}"/>
                  </a:ext>
                </a:extLst>
              </p:cNvPr>
              <p:cNvSpPr>
                <a:spLocks noChangeArrowheads="1"/>
              </p:cNvSpPr>
              <p:nvPr/>
            </p:nvSpPr>
            <p:spPr bwMode="auto">
              <a:xfrm>
                <a:off x="4479926" y="3307556"/>
                <a:ext cx="44450" cy="49213"/>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179">
                <a:extLst>
                  <a:ext uri="{FF2B5EF4-FFF2-40B4-BE49-F238E27FC236}">
                    <a16:creationId xmlns:a16="http://schemas.microsoft.com/office/drawing/2014/main" id="{22CF7365-6BE3-405B-A771-088EB9637C71}"/>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80">
                <a:extLst>
                  <a:ext uri="{FF2B5EF4-FFF2-40B4-BE49-F238E27FC236}">
                    <a16:creationId xmlns:a16="http://schemas.microsoft.com/office/drawing/2014/main" id="{30AE8D0A-597B-472C-9949-26379484AC23}"/>
                  </a:ext>
                </a:extLst>
              </p:cNvPr>
              <p:cNvSpPr>
                <a:spLocks noEditPoints="1"/>
              </p:cNvSpPr>
              <p:nvPr/>
            </p:nvSpPr>
            <p:spPr bwMode="auto">
              <a:xfrm>
                <a:off x="4465638" y="3340894"/>
                <a:ext cx="44450" cy="100013"/>
              </a:xfrm>
              <a:custGeom>
                <a:avLst/>
                <a:gdLst>
                  <a:gd name="T0" fmla="*/ 150 w 150"/>
                  <a:gd name="T1" fmla="*/ 29 h 336"/>
                  <a:gd name="T2" fmla="*/ 150 w 150"/>
                  <a:gd name="T3" fmla="*/ 48 h 336"/>
                  <a:gd name="T4" fmla="*/ 57 w 150"/>
                  <a:gd name="T5" fmla="*/ 2 h 336"/>
                  <a:gd name="T6" fmla="*/ 56 w 150"/>
                  <a:gd name="T7" fmla="*/ 1 h 336"/>
                  <a:gd name="T8" fmla="*/ 124 w 150"/>
                  <a:gd name="T9" fmla="*/ 1 h 336"/>
                  <a:gd name="T10" fmla="*/ 150 w 150"/>
                  <a:gd name="T11" fmla="*/ 29 h 336"/>
                  <a:gd name="T12" fmla="*/ 22 w 150"/>
                  <a:gd name="T13" fmla="*/ 85 h 336"/>
                  <a:gd name="T14" fmla="*/ 0 w 150"/>
                  <a:gd name="T15" fmla="*/ 110 h 336"/>
                  <a:gd name="T16" fmla="*/ 0 w 150"/>
                  <a:gd name="T17" fmla="*/ 269 h 336"/>
                  <a:gd name="T18" fmla="*/ 18 w 150"/>
                  <a:gd name="T19" fmla="*/ 336 h 336"/>
                  <a:gd name="T20" fmla="*/ 118 w 150"/>
                  <a:gd name="T21" fmla="*/ 336 h 336"/>
                  <a:gd name="T22" fmla="*/ 150 w 150"/>
                  <a:gd name="T23" fmla="*/ 303 h 336"/>
                  <a:gd name="T24" fmla="*/ 150 w 150"/>
                  <a:gd name="T25" fmla="*/ 85 h 336"/>
                  <a:gd name="T26" fmla="*/ 22 w 150"/>
                  <a:gd name="T27" fmla="*/ 8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6">
                    <a:moveTo>
                      <a:pt x="150" y="29"/>
                    </a:moveTo>
                    <a:lnTo>
                      <a:pt x="150" y="48"/>
                    </a:lnTo>
                    <a:cubicBezTo>
                      <a:pt x="113" y="64"/>
                      <a:pt x="71" y="43"/>
                      <a:pt x="57" y="2"/>
                    </a:cubicBezTo>
                    <a:cubicBezTo>
                      <a:pt x="57" y="2"/>
                      <a:pt x="57" y="1"/>
                      <a:pt x="56" y="1"/>
                    </a:cubicBezTo>
                    <a:lnTo>
                      <a:pt x="124" y="1"/>
                    </a:lnTo>
                    <a:cubicBezTo>
                      <a:pt x="138" y="0"/>
                      <a:pt x="149" y="13"/>
                      <a:pt x="150" y="29"/>
                    </a:cubicBezTo>
                    <a:close/>
                    <a:moveTo>
                      <a:pt x="22" y="85"/>
                    </a:moveTo>
                    <a:cubicBezTo>
                      <a:pt x="10" y="85"/>
                      <a:pt x="0" y="96"/>
                      <a:pt x="0" y="110"/>
                    </a:cubicBezTo>
                    <a:lnTo>
                      <a:pt x="0" y="269"/>
                    </a:lnTo>
                    <a:cubicBezTo>
                      <a:pt x="0" y="293"/>
                      <a:pt x="6" y="316"/>
                      <a:pt x="18" y="336"/>
                    </a:cubicBezTo>
                    <a:lnTo>
                      <a:pt x="118" y="336"/>
                    </a:lnTo>
                    <a:cubicBezTo>
                      <a:pt x="135" y="335"/>
                      <a:pt x="148" y="321"/>
                      <a:pt x="150" y="303"/>
                    </a:cubicBezTo>
                    <a:lnTo>
                      <a:pt x="150" y="85"/>
                    </a:lnTo>
                    <a:lnTo>
                      <a:pt x="22" y="85"/>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181">
                <a:extLst>
                  <a:ext uri="{FF2B5EF4-FFF2-40B4-BE49-F238E27FC236}">
                    <a16:creationId xmlns:a16="http://schemas.microsoft.com/office/drawing/2014/main" id="{9588CAB0-2030-43C0-9B98-B9CA962CC00B}"/>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Rectangle 182">
                <a:extLst>
                  <a:ext uri="{FF2B5EF4-FFF2-40B4-BE49-F238E27FC236}">
                    <a16:creationId xmlns:a16="http://schemas.microsoft.com/office/drawing/2014/main" id="{76E16884-8F47-4249-BD71-6F4165E03FD7}"/>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83">
                <a:extLst>
                  <a:ext uri="{FF2B5EF4-FFF2-40B4-BE49-F238E27FC236}">
                    <a16:creationId xmlns:a16="http://schemas.microsoft.com/office/drawing/2014/main" id="{3FE09F4E-F72B-4B17-9AC1-49D3D9D30EAA}"/>
                  </a:ext>
                </a:extLst>
              </p:cNvPr>
              <p:cNvSpPr>
                <a:spLocks noEditPoints="1"/>
              </p:cNvSpPr>
              <p:nvPr/>
            </p:nvSpPr>
            <p:spPr bwMode="auto">
              <a:xfrm>
                <a:off x="4465638" y="3340894"/>
                <a:ext cx="44450" cy="100013"/>
              </a:xfrm>
              <a:custGeom>
                <a:avLst/>
                <a:gdLst>
                  <a:gd name="T0" fmla="*/ 150 w 150"/>
                  <a:gd name="T1" fmla="*/ 29 h 336"/>
                  <a:gd name="T2" fmla="*/ 150 w 150"/>
                  <a:gd name="T3" fmla="*/ 48 h 336"/>
                  <a:gd name="T4" fmla="*/ 57 w 150"/>
                  <a:gd name="T5" fmla="*/ 2 h 336"/>
                  <a:gd name="T6" fmla="*/ 56 w 150"/>
                  <a:gd name="T7" fmla="*/ 1 h 336"/>
                  <a:gd name="T8" fmla="*/ 124 w 150"/>
                  <a:gd name="T9" fmla="*/ 1 h 336"/>
                  <a:gd name="T10" fmla="*/ 150 w 150"/>
                  <a:gd name="T11" fmla="*/ 29 h 336"/>
                  <a:gd name="T12" fmla="*/ 22 w 150"/>
                  <a:gd name="T13" fmla="*/ 85 h 336"/>
                  <a:gd name="T14" fmla="*/ 0 w 150"/>
                  <a:gd name="T15" fmla="*/ 110 h 336"/>
                  <a:gd name="T16" fmla="*/ 0 w 150"/>
                  <a:gd name="T17" fmla="*/ 269 h 336"/>
                  <a:gd name="T18" fmla="*/ 18 w 150"/>
                  <a:gd name="T19" fmla="*/ 336 h 336"/>
                  <a:gd name="T20" fmla="*/ 118 w 150"/>
                  <a:gd name="T21" fmla="*/ 336 h 336"/>
                  <a:gd name="T22" fmla="*/ 150 w 150"/>
                  <a:gd name="T23" fmla="*/ 303 h 336"/>
                  <a:gd name="T24" fmla="*/ 150 w 150"/>
                  <a:gd name="T25" fmla="*/ 85 h 336"/>
                  <a:gd name="T26" fmla="*/ 22 w 150"/>
                  <a:gd name="T27" fmla="*/ 8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6">
                    <a:moveTo>
                      <a:pt x="150" y="29"/>
                    </a:moveTo>
                    <a:lnTo>
                      <a:pt x="150" y="48"/>
                    </a:lnTo>
                    <a:cubicBezTo>
                      <a:pt x="113" y="64"/>
                      <a:pt x="71" y="43"/>
                      <a:pt x="57" y="2"/>
                    </a:cubicBezTo>
                    <a:cubicBezTo>
                      <a:pt x="57" y="2"/>
                      <a:pt x="57" y="1"/>
                      <a:pt x="56" y="1"/>
                    </a:cubicBezTo>
                    <a:lnTo>
                      <a:pt x="124" y="1"/>
                    </a:lnTo>
                    <a:cubicBezTo>
                      <a:pt x="138" y="0"/>
                      <a:pt x="149" y="13"/>
                      <a:pt x="150" y="29"/>
                    </a:cubicBezTo>
                    <a:close/>
                    <a:moveTo>
                      <a:pt x="22" y="85"/>
                    </a:moveTo>
                    <a:cubicBezTo>
                      <a:pt x="10" y="85"/>
                      <a:pt x="0" y="96"/>
                      <a:pt x="0" y="110"/>
                    </a:cubicBezTo>
                    <a:lnTo>
                      <a:pt x="0" y="269"/>
                    </a:lnTo>
                    <a:cubicBezTo>
                      <a:pt x="0" y="293"/>
                      <a:pt x="6" y="316"/>
                      <a:pt x="18" y="336"/>
                    </a:cubicBezTo>
                    <a:lnTo>
                      <a:pt x="118" y="336"/>
                    </a:lnTo>
                    <a:cubicBezTo>
                      <a:pt x="135" y="335"/>
                      <a:pt x="148" y="321"/>
                      <a:pt x="150" y="303"/>
                    </a:cubicBezTo>
                    <a:lnTo>
                      <a:pt x="150" y="85"/>
                    </a:lnTo>
                    <a:lnTo>
                      <a:pt x="22" y="85"/>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184">
                <a:extLst>
                  <a:ext uri="{FF2B5EF4-FFF2-40B4-BE49-F238E27FC236}">
                    <a16:creationId xmlns:a16="http://schemas.microsoft.com/office/drawing/2014/main" id="{9EA61A8A-6B17-4032-A4A9-91359A728061}"/>
                  </a:ext>
                </a:extLst>
              </p:cNvPr>
              <p:cNvSpPr>
                <a:spLocks noChangeArrowheads="1"/>
              </p:cNvSpPr>
              <p:nvPr/>
            </p:nvSpPr>
            <p:spPr bwMode="auto">
              <a:xfrm>
                <a:off x="4465638" y="3336131"/>
                <a:ext cx="52388" cy="1047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85">
                <a:extLst>
                  <a:ext uri="{FF2B5EF4-FFF2-40B4-BE49-F238E27FC236}">
                    <a16:creationId xmlns:a16="http://schemas.microsoft.com/office/drawing/2014/main" id="{0A55E682-7985-4D25-A365-F9BFCCE2A216}"/>
                  </a:ext>
                </a:extLst>
              </p:cNvPr>
              <p:cNvSpPr>
                <a:spLocks/>
              </p:cNvSpPr>
              <p:nvPr/>
            </p:nvSpPr>
            <p:spPr bwMode="auto">
              <a:xfrm>
                <a:off x="4413251" y="3332956"/>
                <a:ext cx="88900" cy="98425"/>
              </a:xfrm>
              <a:custGeom>
                <a:avLst/>
                <a:gdLst>
                  <a:gd name="T0" fmla="*/ 25 w 300"/>
                  <a:gd name="T1" fmla="*/ 0 h 335"/>
                  <a:gd name="T2" fmla="*/ 275 w 300"/>
                  <a:gd name="T3" fmla="*/ 0 h 335"/>
                  <a:gd name="T4" fmla="*/ 300 w 300"/>
                  <a:gd name="T5" fmla="*/ 28 h 335"/>
                  <a:gd name="T6" fmla="*/ 300 w 300"/>
                  <a:gd name="T7" fmla="*/ 307 h 335"/>
                  <a:gd name="T8" fmla="*/ 275 w 300"/>
                  <a:gd name="T9" fmla="*/ 335 h 335"/>
                  <a:gd name="T10" fmla="*/ 25 w 300"/>
                  <a:gd name="T11" fmla="*/ 335 h 335"/>
                  <a:gd name="T12" fmla="*/ 0 w 300"/>
                  <a:gd name="T13" fmla="*/ 307 h 335"/>
                  <a:gd name="T14" fmla="*/ 0 w 300"/>
                  <a:gd name="T15" fmla="*/ 28 h 335"/>
                  <a:gd name="T16" fmla="*/ 25 w 300"/>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335">
                    <a:moveTo>
                      <a:pt x="25" y="0"/>
                    </a:moveTo>
                    <a:lnTo>
                      <a:pt x="275" y="0"/>
                    </a:lnTo>
                    <a:cubicBezTo>
                      <a:pt x="289" y="0"/>
                      <a:pt x="300" y="12"/>
                      <a:pt x="300" y="28"/>
                    </a:cubicBezTo>
                    <a:lnTo>
                      <a:pt x="300" y="307"/>
                    </a:lnTo>
                    <a:cubicBezTo>
                      <a:pt x="300" y="322"/>
                      <a:pt x="289" y="335"/>
                      <a:pt x="275" y="335"/>
                    </a:cubicBezTo>
                    <a:lnTo>
                      <a:pt x="25" y="335"/>
                    </a:lnTo>
                    <a:cubicBezTo>
                      <a:pt x="11" y="335"/>
                      <a:pt x="0" y="322"/>
                      <a:pt x="0" y="307"/>
                    </a:cubicBezTo>
                    <a:lnTo>
                      <a:pt x="0" y="28"/>
                    </a:lnTo>
                    <a:cubicBezTo>
                      <a:pt x="0" y="12"/>
                      <a:pt x="11" y="0"/>
                      <a:pt x="25"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186">
                <a:extLst>
                  <a:ext uri="{FF2B5EF4-FFF2-40B4-BE49-F238E27FC236}">
                    <a16:creationId xmlns:a16="http://schemas.microsoft.com/office/drawing/2014/main" id="{54FDC8F0-779D-4CE6-9629-C52272453172}"/>
                  </a:ext>
                </a:extLst>
              </p:cNvPr>
              <p:cNvSpPr>
                <a:spLocks/>
              </p:cNvSpPr>
              <p:nvPr/>
            </p:nvSpPr>
            <p:spPr bwMode="auto">
              <a:xfrm>
                <a:off x="4432301" y="3352006"/>
                <a:ext cx="42863" cy="60325"/>
              </a:xfrm>
              <a:custGeom>
                <a:avLst/>
                <a:gdLst>
                  <a:gd name="T0" fmla="*/ 27 w 27"/>
                  <a:gd name="T1" fmla="*/ 7 h 38"/>
                  <a:gd name="T2" fmla="*/ 17 w 27"/>
                  <a:gd name="T3" fmla="*/ 7 h 38"/>
                  <a:gd name="T4" fmla="*/ 17 w 27"/>
                  <a:gd name="T5" fmla="*/ 38 h 38"/>
                  <a:gd name="T6" fmla="*/ 10 w 27"/>
                  <a:gd name="T7" fmla="*/ 38 h 38"/>
                  <a:gd name="T8" fmla="*/ 10 w 27"/>
                  <a:gd name="T9" fmla="*/ 7 h 38"/>
                  <a:gd name="T10" fmla="*/ 0 w 27"/>
                  <a:gd name="T11" fmla="*/ 7 h 38"/>
                  <a:gd name="T12" fmla="*/ 0 w 27"/>
                  <a:gd name="T13" fmla="*/ 0 h 38"/>
                  <a:gd name="T14" fmla="*/ 27 w 27"/>
                  <a:gd name="T15" fmla="*/ 0 h 38"/>
                  <a:gd name="T16" fmla="*/ 27 w 27"/>
                  <a:gd name="T17"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8">
                    <a:moveTo>
                      <a:pt x="27" y="7"/>
                    </a:moveTo>
                    <a:lnTo>
                      <a:pt x="17" y="7"/>
                    </a:lnTo>
                    <a:lnTo>
                      <a:pt x="17" y="38"/>
                    </a:lnTo>
                    <a:lnTo>
                      <a:pt x="10" y="38"/>
                    </a:lnTo>
                    <a:lnTo>
                      <a:pt x="10" y="7"/>
                    </a:lnTo>
                    <a:lnTo>
                      <a:pt x="0" y="7"/>
                    </a:lnTo>
                    <a:lnTo>
                      <a:pt x="0" y="0"/>
                    </a:lnTo>
                    <a:lnTo>
                      <a:pt x="27" y="0"/>
                    </a:lnTo>
                    <a:lnTo>
                      <a:pt x="2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B7812D72-313E-4623-BA88-F49879D4EAE0}"/>
                </a:ext>
              </a:extLst>
            </p:cNvPr>
            <p:cNvGrpSpPr/>
            <p:nvPr/>
          </p:nvGrpSpPr>
          <p:grpSpPr>
            <a:xfrm>
              <a:off x="1493838" y="2048669"/>
              <a:ext cx="3043238" cy="4679950"/>
              <a:chOff x="1493838" y="2048669"/>
              <a:chExt cx="3043238" cy="4679950"/>
            </a:xfrm>
          </p:grpSpPr>
          <p:grpSp>
            <p:nvGrpSpPr>
              <p:cNvPr id="144" name="Group 143">
                <a:extLst>
                  <a:ext uri="{FF2B5EF4-FFF2-40B4-BE49-F238E27FC236}">
                    <a16:creationId xmlns:a16="http://schemas.microsoft.com/office/drawing/2014/main" id="{0FB1AB66-209C-4B38-89DF-36B4F1F9D893}"/>
                  </a:ext>
                </a:extLst>
              </p:cNvPr>
              <p:cNvGrpSpPr/>
              <p:nvPr/>
            </p:nvGrpSpPr>
            <p:grpSpPr>
              <a:xfrm>
                <a:off x="1493838" y="2048669"/>
                <a:ext cx="684213" cy="4503738"/>
                <a:chOff x="1493838" y="2048669"/>
                <a:chExt cx="684213" cy="4503738"/>
              </a:xfrm>
            </p:grpSpPr>
            <p:sp>
              <p:nvSpPr>
                <p:cNvPr id="187" name="Freeform 91">
                  <a:extLst>
                    <a:ext uri="{FF2B5EF4-FFF2-40B4-BE49-F238E27FC236}">
                      <a16:creationId xmlns:a16="http://schemas.microsoft.com/office/drawing/2014/main" id="{18787E04-57B3-4A9B-85A5-21BB3D68B484}"/>
                    </a:ext>
                  </a:extLst>
                </p:cNvPr>
                <p:cNvSpPr>
                  <a:spLocks noEditPoints="1"/>
                </p:cNvSpPr>
                <p:nvPr/>
              </p:nvSpPr>
              <p:spPr bwMode="auto">
                <a:xfrm>
                  <a:off x="1493838" y="2048669"/>
                  <a:ext cx="684213" cy="4084638"/>
                </a:xfrm>
                <a:custGeom>
                  <a:avLst/>
                  <a:gdLst>
                    <a:gd name="T0" fmla="*/ 0 w 2297"/>
                    <a:gd name="T1" fmla="*/ 16 h 13709"/>
                    <a:gd name="T2" fmla="*/ 16 w 2297"/>
                    <a:gd name="T3" fmla="*/ 640 h 13709"/>
                    <a:gd name="T4" fmla="*/ 32 w 2297"/>
                    <a:gd name="T5" fmla="*/ 784 h 13709"/>
                    <a:gd name="T6" fmla="*/ 16 w 2297"/>
                    <a:gd name="T7" fmla="*/ 768 h 13709"/>
                    <a:gd name="T8" fmla="*/ 0 w 2297"/>
                    <a:gd name="T9" fmla="*/ 1392 h 13709"/>
                    <a:gd name="T10" fmla="*/ 32 w 2297"/>
                    <a:gd name="T11" fmla="*/ 1776 h 13709"/>
                    <a:gd name="T12" fmla="*/ 32 w 2297"/>
                    <a:gd name="T13" fmla="*/ 1552 h 13709"/>
                    <a:gd name="T14" fmla="*/ 0 w 2297"/>
                    <a:gd name="T15" fmla="*/ 1936 h 13709"/>
                    <a:gd name="T16" fmla="*/ 16 w 2297"/>
                    <a:gd name="T17" fmla="*/ 2560 h 13709"/>
                    <a:gd name="T18" fmla="*/ 32 w 2297"/>
                    <a:gd name="T19" fmla="*/ 2704 h 13709"/>
                    <a:gd name="T20" fmla="*/ 16 w 2297"/>
                    <a:gd name="T21" fmla="*/ 2688 h 13709"/>
                    <a:gd name="T22" fmla="*/ 0 w 2297"/>
                    <a:gd name="T23" fmla="*/ 3312 h 13709"/>
                    <a:gd name="T24" fmla="*/ 32 w 2297"/>
                    <a:gd name="T25" fmla="*/ 3696 h 13709"/>
                    <a:gd name="T26" fmla="*/ 32 w 2297"/>
                    <a:gd name="T27" fmla="*/ 3472 h 13709"/>
                    <a:gd name="T28" fmla="*/ 0 w 2297"/>
                    <a:gd name="T29" fmla="*/ 3856 h 13709"/>
                    <a:gd name="T30" fmla="*/ 16 w 2297"/>
                    <a:gd name="T31" fmla="*/ 4480 h 13709"/>
                    <a:gd name="T32" fmla="*/ 32 w 2297"/>
                    <a:gd name="T33" fmla="*/ 4624 h 13709"/>
                    <a:gd name="T34" fmla="*/ 16 w 2297"/>
                    <a:gd name="T35" fmla="*/ 4608 h 13709"/>
                    <a:gd name="T36" fmla="*/ 0 w 2297"/>
                    <a:gd name="T37" fmla="*/ 5232 h 13709"/>
                    <a:gd name="T38" fmla="*/ 32 w 2297"/>
                    <a:gd name="T39" fmla="*/ 5616 h 13709"/>
                    <a:gd name="T40" fmla="*/ 32 w 2297"/>
                    <a:gd name="T41" fmla="*/ 5392 h 13709"/>
                    <a:gd name="T42" fmla="*/ 0 w 2297"/>
                    <a:gd name="T43" fmla="*/ 5776 h 13709"/>
                    <a:gd name="T44" fmla="*/ 16 w 2297"/>
                    <a:gd name="T45" fmla="*/ 6400 h 13709"/>
                    <a:gd name="T46" fmla="*/ 32 w 2297"/>
                    <a:gd name="T47" fmla="*/ 6544 h 13709"/>
                    <a:gd name="T48" fmla="*/ 16 w 2297"/>
                    <a:gd name="T49" fmla="*/ 6528 h 13709"/>
                    <a:gd name="T50" fmla="*/ 0 w 2297"/>
                    <a:gd name="T51" fmla="*/ 7152 h 13709"/>
                    <a:gd name="T52" fmla="*/ 32 w 2297"/>
                    <a:gd name="T53" fmla="*/ 7536 h 13709"/>
                    <a:gd name="T54" fmla="*/ 32 w 2297"/>
                    <a:gd name="T55" fmla="*/ 7312 h 13709"/>
                    <a:gd name="T56" fmla="*/ 0 w 2297"/>
                    <a:gd name="T57" fmla="*/ 7696 h 13709"/>
                    <a:gd name="T58" fmla="*/ 16 w 2297"/>
                    <a:gd name="T59" fmla="*/ 8320 h 13709"/>
                    <a:gd name="T60" fmla="*/ 32 w 2297"/>
                    <a:gd name="T61" fmla="*/ 8464 h 13709"/>
                    <a:gd name="T62" fmla="*/ 16 w 2297"/>
                    <a:gd name="T63" fmla="*/ 8448 h 13709"/>
                    <a:gd name="T64" fmla="*/ 0 w 2297"/>
                    <a:gd name="T65" fmla="*/ 9072 h 13709"/>
                    <a:gd name="T66" fmla="*/ 32 w 2297"/>
                    <a:gd name="T67" fmla="*/ 9456 h 13709"/>
                    <a:gd name="T68" fmla="*/ 32 w 2297"/>
                    <a:gd name="T69" fmla="*/ 9232 h 13709"/>
                    <a:gd name="T70" fmla="*/ 0 w 2297"/>
                    <a:gd name="T71" fmla="*/ 9616 h 13709"/>
                    <a:gd name="T72" fmla="*/ 16 w 2297"/>
                    <a:gd name="T73" fmla="*/ 10240 h 13709"/>
                    <a:gd name="T74" fmla="*/ 32 w 2297"/>
                    <a:gd name="T75" fmla="*/ 10384 h 13709"/>
                    <a:gd name="T76" fmla="*/ 16 w 2297"/>
                    <a:gd name="T77" fmla="*/ 10368 h 13709"/>
                    <a:gd name="T78" fmla="*/ 0 w 2297"/>
                    <a:gd name="T79" fmla="*/ 10992 h 13709"/>
                    <a:gd name="T80" fmla="*/ 32 w 2297"/>
                    <a:gd name="T81" fmla="*/ 11376 h 13709"/>
                    <a:gd name="T82" fmla="*/ 32 w 2297"/>
                    <a:gd name="T83" fmla="*/ 11152 h 13709"/>
                    <a:gd name="T84" fmla="*/ 0 w 2297"/>
                    <a:gd name="T85" fmla="*/ 11536 h 13709"/>
                    <a:gd name="T86" fmla="*/ 16 w 2297"/>
                    <a:gd name="T87" fmla="*/ 12160 h 13709"/>
                    <a:gd name="T88" fmla="*/ 32 w 2297"/>
                    <a:gd name="T89" fmla="*/ 12304 h 13709"/>
                    <a:gd name="T90" fmla="*/ 16 w 2297"/>
                    <a:gd name="T91" fmla="*/ 12288 h 13709"/>
                    <a:gd name="T92" fmla="*/ 0 w 2297"/>
                    <a:gd name="T93" fmla="*/ 12912 h 13709"/>
                    <a:gd name="T94" fmla="*/ 32 w 2297"/>
                    <a:gd name="T95" fmla="*/ 13296 h 13709"/>
                    <a:gd name="T96" fmla="*/ 32 w 2297"/>
                    <a:gd name="T97" fmla="*/ 13072 h 13709"/>
                    <a:gd name="T98" fmla="*/ 0 w 2297"/>
                    <a:gd name="T99" fmla="*/ 13456 h 13709"/>
                    <a:gd name="T100" fmla="*/ 404 w 2297"/>
                    <a:gd name="T101" fmla="*/ 13693 h 13709"/>
                    <a:gd name="T102" fmla="*/ 548 w 2297"/>
                    <a:gd name="T103" fmla="*/ 13677 h 13709"/>
                    <a:gd name="T104" fmla="*/ 532 w 2297"/>
                    <a:gd name="T105" fmla="*/ 13693 h 13709"/>
                    <a:gd name="T106" fmla="*/ 1156 w 2297"/>
                    <a:gd name="T107" fmla="*/ 13709 h 13709"/>
                    <a:gd name="T108" fmla="*/ 1540 w 2297"/>
                    <a:gd name="T109" fmla="*/ 13677 h 13709"/>
                    <a:gd name="T110" fmla="*/ 1316 w 2297"/>
                    <a:gd name="T111" fmla="*/ 13677 h 13709"/>
                    <a:gd name="T112" fmla="*/ 1700 w 2297"/>
                    <a:gd name="T113" fmla="*/ 13709 h 13709"/>
                    <a:gd name="T114" fmla="*/ 2297 w 2297"/>
                    <a:gd name="T115" fmla="*/ 13693 h 13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7" h="1370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32" y="8080"/>
                      </a:moveTo>
                      <a:lnTo>
                        <a:pt x="32" y="8304"/>
                      </a:lnTo>
                      <a:cubicBezTo>
                        <a:pt x="32" y="8313"/>
                        <a:pt x="25" y="8320"/>
                        <a:pt x="16" y="8320"/>
                      </a:cubicBezTo>
                      <a:cubicBezTo>
                        <a:pt x="8" y="8320"/>
                        <a:pt x="0" y="8313"/>
                        <a:pt x="0" y="8304"/>
                      </a:cubicBezTo>
                      <a:lnTo>
                        <a:pt x="0" y="8080"/>
                      </a:lnTo>
                      <a:cubicBezTo>
                        <a:pt x="0" y="8071"/>
                        <a:pt x="8" y="8064"/>
                        <a:pt x="16" y="8064"/>
                      </a:cubicBezTo>
                      <a:cubicBezTo>
                        <a:pt x="25" y="8064"/>
                        <a:pt x="32" y="8071"/>
                        <a:pt x="32" y="8080"/>
                      </a:cubicBezTo>
                      <a:close/>
                      <a:moveTo>
                        <a:pt x="32" y="8464"/>
                      </a:moveTo>
                      <a:lnTo>
                        <a:pt x="32" y="8688"/>
                      </a:lnTo>
                      <a:cubicBezTo>
                        <a:pt x="32" y="8697"/>
                        <a:pt x="25" y="8704"/>
                        <a:pt x="16" y="8704"/>
                      </a:cubicBezTo>
                      <a:cubicBezTo>
                        <a:pt x="8" y="8704"/>
                        <a:pt x="0" y="8697"/>
                        <a:pt x="0" y="8688"/>
                      </a:cubicBezTo>
                      <a:lnTo>
                        <a:pt x="0" y="8464"/>
                      </a:lnTo>
                      <a:cubicBezTo>
                        <a:pt x="0" y="8455"/>
                        <a:pt x="8" y="8448"/>
                        <a:pt x="16" y="8448"/>
                      </a:cubicBezTo>
                      <a:cubicBezTo>
                        <a:pt x="25" y="8448"/>
                        <a:pt x="32" y="8455"/>
                        <a:pt x="32" y="8464"/>
                      </a:cubicBezTo>
                      <a:close/>
                      <a:moveTo>
                        <a:pt x="32" y="8848"/>
                      </a:moveTo>
                      <a:lnTo>
                        <a:pt x="32" y="9072"/>
                      </a:lnTo>
                      <a:cubicBezTo>
                        <a:pt x="32" y="9081"/>
                        <a:pt x="25" y="9088"/>
                        <a:pt x="16" y="9088"/>
                      </a:cubicBezTo>
                      <a:cubicBezTo>
                        <a:pt x="8" y="9088"/>
                        <a:pt x="0" y="9081"/>
                        <a:pt x="0" y="9072"/>
                      </a:cubicBezTo>
                      <a:lnTo>
                        <a:pt x="0" y="8848"/>
                      </a:lnTo>
                      <a:cubicBezTo>
                        <a:pt x="0" y="8839"/>
                        <a:pt x="8" y="8832"/>
                        <a:pt x="16" y="8832"/>
                      </a:cubicBezTo>
                      <a:cubicBezTo>
                        <a:pt x="25" y="8832"/>
                        <a:pt x="32" y="8839"/>
                        <a:pt x="32" y="8848"/>
                      </a:cubicBezTo>
                      <a:close/>
                      <a:moveTo>
                        <a:pt x="32" y="9232"/>
                      </a:moveTo>
                      <a:lnTo>
                        <a:pt x="32" y="9456"/>
                      </a:lnTo>
                      <a:cubicBezTo>
                        <a:pt x="32" y="9465"/>
                        <a:pt x="25" y="9472"/>
                        <a:pt x="16" y="9472"/>
                      </a:cubicBezTo>
                      <a:cubicBezTo>
                        <a:pt x="8" y="9472"/>
                        <a:pt x="0" y="9465"/>
                        <a:pt x="0" y="9456"/>
                      </a:cubicBezTo>
                      <a:lnTo>
                        <a:pt x="0" y="9232"/>
                      </a:lnTo>
                      <a:cubicBezTo>
                        <a:pt x="0" y="9223"/>
                        <a:pt x="8" y="9216"/>
                        <a:pt x="16" y="9216"/>
                      </a:cubicBezTo>
                      <a:cubicBezTo>
                        <a:pt x="25" y="9216"/>
                        <a:pt x="32" y="9223"/>
                        <a:pt x="32" y="9232"/>
                      </a:cubicBezTo>
                      <a:close/>
                      <a:moveTo>
                        <a:pt x="32" y="9616"/>
                      </a:moveTo>
                      <a:lnTo>
                        <a:pt x="32" y="9840"/>
                      </a:lnTo>
                      <a:cubicBezTo>
                        <a:pt x="32" y="9849"/>
                        <a:pt x="25" y="9856"/>
                        <a:pt x="16" y="9856"/>
                      </a:cubicBezTo>
                      <a:cubicBezTo>
                        <a:pt x="8" y="9856"/>
                        <a:pt x="0" y="9849"/>
                        <a:pt x="0" y="9840"/>
                      </a:cubicBezTo>
                      <a:lnTo>
                        <a:pt x="0" y="9616"/>
                      </a:lnTo>
                      <a:cubicBezTo>
                        <a:pt x="0" y="9607"/>
                        <a:pt x="8" y="9600"/>
                        <a:pt x="16" y="9600"/>
                      </a:cubicBezTo>
                      <a:cubicBezTo>
                        <a:pt x="25" y="9600"/>
                        <a:pt x="32" y="9607"/>
                        <a:pt x="32" y="9616"/>
                      </a:cubicBezTo>
                      <a:close/>
                      <a:moveTo>
                        <a:pt x="32" y="10000"/>
                      </a:moveTo>
                      <a:lnTo>
                        <a:pt x="32" y="10224"/>
                      </a:lnTo>
                      <a:cubicBezTo>
                        <a:pt x="32" y="10233"/>
                        <a:pt x="25" y="10240"/>
                        <a:pt x="16" y="10240"/>
                      </a:cubicBezTo>
                      <a:cubicBezTo>
                        <a:pt x="8" y="10240"/>
                        <a:pt x="0" y="10233"/>
                        <a:pt x="0" y="10224"/>
                      </a:cubicBezTo>
                      <a:lnTo>
                        <a:pt x="0" y="10000"/>
                      </a:lnTo>
                      <a:cubicBezTo>
                        <a:pt x="0" y="9991"/>
                        <a:pt x="8" y="9984"/>
                        <a:pt x="16" y="9984"/>
                      </a:cubicBezTo>
                      <a:cubicBezTo>
                        <a:pt x="25" y="9984"/>
                        <a:pt x="32" y="9991"/>
                        <a:pt x="32" y="10000"/>
                      </a:cubicBezTo>
                      <a:close/>
                      <a:moveTo>
                        <a:pt x="32" y="10384"/>
                      </a:moveTo>
                      <a:lnTo>
                        <a:pt x="32" y="10608"/>
                      </a:lnTo>
                      <a:cubicBezTo>
                        <a:pt x="32" y="10617"/>
                        <a:pt x="25" y="10624"/>
                        <a:pt x="16" y="10624"/>
                      </a:cubicBezTo>
                      <a:cubicBezTo>
                        <a:pt x="8" y="10624"/>
                        <a:pt x="0" y="10617"/>
                        <a:pt x="0" y="10608"/>
                      </a:cubicBezTo>
                      <a:lnTo>
                        <a:pt x="0" y="10384"/>
                      </a:lnTo>
                      <a:cubicBezTo>
                        <a:pt x="0" y="10375"/>
                        <a:pt x="8" y="10368"/>
                        <a:pt x="16" y="10368"/>
                      </a:cubicBezTo>
                      <a:cubicBezTo>
                        <a:pt x="25" y="10368"/>
                        <a:pt x="32" y="10375"/>
                        <a:pt x="32" y="10384"/>
                      </a:cubicBezTo>
                      <a:close/>
                      <a:moveTo>
                        <a:pt x="32" y="10768"/>
                      </a:moveTo>
                      <a:lnTo>
                        <a:pt x="32" y="10992"/>
                      </a:lnTo>
                      <a:cubicBezTo>
                        <a:pt x="32" y="11001"/>
                        <a:pt x="25" y="11008"/>
                        <a:pt x="16" y="11008"/>
                      </a:cubicBezTo>
                      <a:cubicBezTo>
                        <a:pt x="8" y="11008"/>
                        <a:pt x="0" y="11001"/>
                        <a:pt x="0" y="10992"/>
                      </a:cubicBezTo>
                      <a:lnTo>
                        <a:pt x="0" y="10768"/>
                      </a:lnTo>
                      <a:cubicBezTo>
                        <a:pt x="0" y="10759"/>
                        <a:pt x="8" y="10752"/>
                        <a:pt x="16" y="10752"/>
                      </a:cubicBezTo>
                      <a:cubicBezTo>
                        <a:pt x="25" y="10752"/>
                        <a:pt x="32" y="10759"/>
                        <a:pt x="32" y="10768"/>
                      </a:cubicBezTo>
                      <a:close/>
                      <a:moveTo>
                        <a:pt x="32" y="11152"/>
                      </a:moveTo>
                      <a:lnTo>
                        <a:pt x="32" y="11376"/>
                      </a:lnTo>
                      <a:cubicBezTo>
                        <a:pt x="32" y="11385"/>
                        <a:pt x="25" y="11392"/>
                        <a:pt x="16" y="11392"/>
                      </a:cubicBezTo>
                      <a:cubicBezTo>
                        <a:pt x="8" y="11392"/>
                        <a:pt x="0" y="11385"/>
                        <a:pt x="0" y="11376"/>
                      </a:cubicBezTo>
                      <a:lnTo>
                        <a:pt x="0" y="11152"/>
                      </a:lnTo>
                      <a:cubicBezTo>
                        <a:pt x="0" y="11143"/>
                        <a:pt x="8" y="11136"/>
                        <a:pt x="16" y="11136"/>
                      </a:cubicBezTo>
                      <a:cubicBezTo>
                        <a:pt x="25" y="11136"/>
                        <a:pt x="32" y="11143"/>
                        <a:pt x="32" y="11152"/>
                      </a:cubicBezTo>
                      <a:close/>
                      <a:moveTo>
                        <a:pt x="32" y="11536"/>
                      </a:moveTo>
                      <a:lnTo>
                        <a:pt x="32" y="11760"/>
                      </a:lnTo>
                      <a:cubicBezTo>
                        <a:pt x="32" y="11769"/>
                        <a:pt x="25" y="11776"/>
                        <a:pt x="16" y="11776"/>
                      </a:cubicBezTo>
                      <a:cubicBezTo>
                        <a:pt x="8" y="11776"/>
                        <a:pt x="0" y="11769"/>
                        <a:pt x="0" y="11760"/>
                      </a:cubicBezTo>
                      <a:lnTo>
                        <a:pt x="0" y="11536"/>
                      </a:lnTo>
                      <a:cubicBezTo>
                        <a:pt x="0" y="11527"/>
                        <a:pt x="8" y="11520"/>
                        <a:pt x="16" y="11520"/>
                      </a:cubicBezTo>
                      <a:cubicBezTo>
                        <a:pt x="25" y="11520"/>
                        <a:pt x="32" y="11527"/>
                        <a:pt x="32" y="11536"/>
                      </a:cubicBezTo>
                      <a:close/>
                      <a:moveTo>
                        <a:pt x="32" y="11920"/>
                      </a:moveTo>
                      <a:lnTo>
                        <a:pt x="32" y="12144"/>
                      </a:lnTo>
                      <a:cubicBezTo>
                        <a:pt x="32" y="12153"/>
                        <a:pt x="25" y="12160"/>
                        <a:pt x="16" y="12160"/>
                      </a:cubicBezTo>
                      <a:cubicBezTo>
                        <a:pt x="8" y="12160"/>
                        <a:pt x="0" y="12153"/>
                        <a:pt x="0" y="12144"/>
                      </a:cubicBezTo>
                      <a:lnTo>
                        <a:pt x="0" y="11920"/>
                      </a:lnTo>
                      <a:cubicBezTo>
                        <a:pt x="0" y="11911"/>
                        <a:pt x="8" y="11904"/>
                        <a:pt x="16" y="11904"/>
                      </a:cubicBezTo>
                      <a:cubicBezTo>
                        <a:pt x="25" y="11904"/>
                        <a:pt x="32" y="11911"/>
                        <a:pt x="32" y="11920"/>
                      </a:cubicBezTo>
                      <a:close/>
                      <a:moveTo>
                        <a:pt x="32" y="12304"/>
                      </a:moveTo>
                      <a:lnTo>
                        <a:pt x="32" y="12528"/>
                      </a:lnTo>
                      <a:cubicBezTo>
                        <a:pt x="32" y="12537"/>
                        <a:pt x="25" y="12544"/>
                        <a:pt x="16" y="12544"/>
                      </a:cubicBezTo>
                      <a:cubicBezTo>
                        <a:pt x="8" y="12544"/>
                        <a:pt x="0" y="12537"/>
                        <a:pt x="0" y="12528"/>
                      </a:cubicBezTo>
                      <a:lnTo>
                        <a:pt x="0" y="12304"/>
                      </a:lnTo>
                      <a:cubicBezTo>
                        <a:pt x="0" y="12295"/>
                        <a:pt x="8" y="12288"/>
                        <a:pt x="16" y="12288"/>
                      </a:cubicBezTo>
                      <a:cubicBezTo>
                        <a:pt x="25" y="12288"/>
                        <a:pt x="32" y="12295"/>
                        <a:pt x="32" y="12304"/>
                      </a:cubicBezTo>
                      <a:close/>
                      <a:moveTo>
                        <a:pt x="32" y="12688"/>
                      </a:moveTo>
                      <a:lnTo>
                        <a:pt x="32" y="12912"/>
                      </a:lnTo>
                      <a:cubicBezTo>
                        <a:pt x="32" y="12921"/>
                        <a:pt x="25" y="12928"/>
                        <a:pt x="16" y="12928"/>
                      </a:cubicBezTo>
                      <a:cubicBezTo>
                        <a:pt x="8" y="12928"/>
                        <a:pt x="0" y="12921"/>
                        <a:pt x="0" y="12912"/>
                      </a:cubicBezTo>
                      <a:lnTo>
                        <a:pt x="0" y="12688"/>
                      </a:lnTo>
                      <a:cubicBezTo>
                        <a:pt x="0" y="12679"/>
                        <a:pt x="8" y="12672"/>
                        <a:pt x="16" y="12672"/>
                      </a:cubicBezTo>
                      <a:cubicBezTo>
                        <a:pt x="25" y="12672"/>
                        <a:pt x="32" y="12679"/>
                        <a:pt x="32" y="12688"/>
                      </a:cubicBezTo>
                      <a:close/>
                      <a:moveTo>
                        <a:pt x="32" y="13072"/>
                      </a:moveTo>
                      <a:lnTo>
                        <a:pt x="32" y="13296"/>
                      </a:lnTo>
                      <a:cubicBezTo>
                        <a:pt x="32" y="13305"/>
                        <a:pt x="25" y="13312"/>
                        <a:pt x="16" y="13312"/>
                      </a:cubicBezTo>
                      <a:cubicBezTo>
                        <a:pt x="8" y="13312"/>
                        <a:pt x="0" y="13305"/>
                        <a:pt x="0" y="13296"/>
                      </a:cubicBezTo>
                      <a:lnTo>
                        <a:pt x="0" y="13072"/>
                      </a:lnTo>
                      <a:cubicBezTo>
                        <a:pt x="0" y="13063"/>
                        <a:pt x="8" y="13056"/>
                        <a:pt x="16" y="13056"/>
                      </a:cubicBezTo>
                      <a:cubicBezTo>
                        <a:pt x="25" y="13056"/>
                        <a:pt x="32" y="13063"/>
                        <a:pt x="32" y="13072"/>
                      </a:cubicBezTo>
                      <a:close/>
                      <a:moveTo>
                        <a:pt x="32" y="13456"/>
                      </a:moveTo>
                      <a:lnTo>
                        <a:pt x="32" y="13680"/>
                      </a:lnTo>
                      <a:cubicBezTo>
                        <a:pt x="32" y="13689"/>
                        <a:pt x="25" y="13696"/>
                        <a:pt x="16" y="13696"/>
                      </a:cubicBezTo>
                      <a:cubicBezTo>
                        <a:pt x="8" y="13696"/>
                        <a:pt x="0" y="13689"/>
                        <a:pt x="0" y="13680"/>
                      </a:cubicBezTo>
                      <a:lnTo>
                        <a:pt x="0" y="13456"/>
                      </a:lnTo>
                      <a:cubicBezTo>
                        <a:pt x="0" y="13447"/>
                        <a:pt x="8" y="13440"/>
                        <a:pt x="16" y="13440"/>
                      </a:cubicBezTo>
                      <a:cubicBezTo>
                        <a:pt x="25" y="13440"/>
                        <a:pt x="32" y="13447"/>
                        <a:pt x="32" y="13456"/>
                      </a:cubicBezTo>
                      <a:close/>
                      <a:moveTo>
                        <a:pt x="164" y="13677"/>
                      </a:moveTo>
                      <a:lnTo>
                        <a:pt x="388" y="13677"/>
                      </a:lnTo>
                      <a:cubicBezTo>
                        <a:pt x="397" y="13677"/>
                        <a:pt x="404" y="13684"/>
                        <a:pt x="404" y="13693"/>
                      </a:cubicBezTo>
                      <a:cubicBezTo>
                        <a:pt x="404" y="13702"/>
                        <a:pt x="397" y="13709"/>
                        <a:pt x="388" y="13709"/>
                      </a:cubicBezTo>
                      <a:lnTo>
                        <a:pt x="164" y="13709"/>
                      </a:lnTo>
                      <a:cubicBezTo>
                        <a:pt x="155" y="13709"/>
                        <a:pt x="148" y="13702"/>
                        <a:pt x="148" y="13693"/>
                      </a:cubicBezTo>
                      <a:cubicBezTo>
                        <a:pt x="148" y="13684"/>
                        <a:pt x="155" y="13677"/>
                        <a:pt x="164" y="13677"/>
                      </a:cubicBezTo>
                      <a:close/>
                      <a:moveTo>
                        <a:pt x="548" y="13677"/>
                      </a:moveTo>
                      <a:lnTo>
                        <a:pt x="772" y="13677"/>
                      </a:lnTo>
                      <a:cubicBezTo>
                        <a:pt x="781" y="13677"/>
                        <a:pt x="788" y="13684"/>
                        <a:pt x="788" y="13693"/>
                      </a:cubicBezTo>
                      <a:cubicBezTo>
                        <a:pt x="788" y="13702"/>
                        <a:pt x="781" y="13709"/>
                        <a:pt x="772" y="13709"/>
                      </a:cubicBezTo>
                      <a:lnTo>
                        <a:pt x="548" y="13709"/>
                      </a:lnTo>
                      <a:cubicBezTo>
                        <a:pt x="539" y="13709"/>
                        <a:pt x="532" y="13702"/>
                        <a:pt x="532" y="13693"/>
                      </a:cubicBezTo>
                      <a:cubicBezTo>
                        <a:pt x="532" y="13684"/>
                        <a:pt x="539" y="13677"/>
                        <a:pt x="548" y="13677"/>
                      </a:cubicBezTo>
                      <a:close/>
                      <a:moveTo>
                        <a:pt x="932" y="13677"/>
                      </a:moveTo>
                      <a:lnTo>
                        <a:pt x="1156" y="13677"/>
                      </a:lnTo>
                      <a:cubicBezTo>
                        <a:pt x="1165" y="13677"/>
                        <a:pt x="1172" y="13684"/>
                        <a:pt x="1172" y="13693"/>
                      </a:cubicBezTo>
                      <a:cubicBezTo>
                        <a:pt x="1172" y="13702"/>
                        <a:pt x="1165" y="13709"/>
                        <a:pt x="1156" y="13709"/>
                      </a:cubicBezTo>
                      <a:lnTo>
                        <a:pt x="932" y="13709"/>
                      </a:lnTo>
                      <a:cubicBezTo>
                        <a:pt x="923" y="13709"/>
                        <a:pt x="916" y="13702"/>
                        <a:pt x="916" y="13693"/>
                      </a:cubicBezTo>
                      <a:cubicBezTo>
                        <a:pt x="916" y="13684"/>
                        <a:pt x="923" y="13677"/>
                        <a:pt x="932" y="13677"/>
                      </a:cubicBezTo>
                      <a:close/>
                      <a:moveTo>
                        <a:pt x="1316" y="13677"/>
                      </a:moveTo>
                      <a:lnTo>
                        <a:pt x="1540" y="13677"/>
                      </a:lnTo>
                      <a:cubicBezTo>
                        <a:pt x="1549" y="13677"/>
                        <a:pt x="1556" y="13684"/>
                        <a:pt x="1556" y="13693"/>
                      </a:cubicBezTo>
                      <a:cubicBezTo>
                        <a:pt x="1556" y="13702"/>
                        <a:pt x="1549" y="13709"/>
                        <a:pt x="1540" y="13709"/>
                      </a:cubicBezTo>
                      <a:lnTo>
                        <a:pt x="1316" y="13709"/>
                      </a:lnTo>
                      <a:cubicBezTo>
                        <a:pt x="1307" y="13709"/>
                        <a:pt x="1300" y="13702"/>
                        <a:pt x="1300" y="13693"/>
                      </a:cubicBezTo>
                      <a:cubicBezTo>
                        <a:pt x="1300" y="13684"/>
                        <a:pt x="1307" y="13677"/>
                        <a:pt x="1316" y="13677"/>
                      </a:cubicBezTo>
                      <a:close/>
                      <a:moveTo>
                        <a:pt x="1700" y="13677"/>
                      </a:moveTo>
                      <a:lnTo>
                        <a:pt x="1924" y="13677"/>
                      </a:lnTo>
                      <a:cubicBezTo>
                        <a:pt x="1933" y="13677"/>
                        <a:pt x="1940" y="13684"/>
                        <a:pt x="1940" y="13693"/>
                      </a:cubicBezTo>
                      <a:cubicBezTo>
                        <a:pt x="1940" y="13702"/>
                        <a:pt x="1933" y="13709"/>
                        <a:pt x="1924" y="13709"/>
                      </a:cubicBezTo>
                      <a:lnTo>
                        <a:pt x="1700" y="13709"/>
                      </a:lnTo>
                      <a:cubicBezTo>
                        <a:pt x="1691" y="13709"/>
                        <a:pt x="1684" y="13702"/>
                        <a:pt x="1684" y="13693"/>
                      </a:cubicBezTo>
                      <a:cubicBezTo>
                        <a:pt x="1684" y="13684"/>
                        <a:pt x="1691" y="13677"/>
                        <a:pt x="1700" y="13677"/>
                      </a:cubicBezTo>
                      <a:close/>
                      <a:moveTo>
                        <a:pt x="2084" y="13677"/>
                      </a:moveTo>
                      <a:lnTo>
                        <a:pt x="2281" y="13677"/>
                      </a:lnTo>
                      <a:cubicBezTo>
                        <a:pt x="2290" y="13677"/>
                        <a:pt x="2297" y="13684"/>
                        <a:pt x="2297" y="13693"/>
                      </a:cubicBezTo>
                      <a:cubicBezTo>
                        <a:pt x="2297" y="13702"/>
                        <a:pt x="2290" y="13709"/>
                        <a:pt x="2281" y="13709"/>
                      </a:cubicBezTo>
                      <a:lnTo>
                        <a:pt x="2084" y="13709"/>
                      </a:lnTo>
                      <a:cubicBezTo>
                        <a:pt x="2075" y="13709"/>
                        <a:pt x="2068" y="13702"/>
                        <a:pt x="2068" y="13693"/>
                      </a:cubicBezTo>
                      <a:cubicBezTo>
                        <a:pt x="2068" y="13684"/>
                        <a:pt x="2075" y="13677"/>
                        <a:pt x="2084" y="1367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93">
                  <a:extLst>
                    <a:ext uri="{FF2B5EF4-FFF2-40B4-BE49-F238E27FC236}">
                      <a16:creationId xmlns:a16="http://schemas.microsoft.com/office/drawing/2014/main" id="{FE6B3E2A-2263-4BD3-AD0E-64872C7DF40B}"/>
                    </a:ext>
                  </a:extLst>
                </p:cNvPr>
                <p:cNvSpPr>
                  <a:spLocks noEditPoints="1"/>
                </p:cNvSpPr>
                <p:nvPr/>
              </p:nvSpPr>
              <p:spPr bwMode="auto">
                <a:xfrm>
                  <a:off x="1493838" y="2048669"/>
                  <a:ext cx="684213" cy="4503738"/>
                </a:xfrm>
                <a:custGeom>
                  <a:avLst/>
                  <a:gdLst>
                    <a:gd name="T0" fmla="*/ 16 w 2297"/>
                    <a:gd name="T1" fmla="*/ 0 h 15115"/>
                    <a:gd name="T2" fmla="*/ 0 w 2297"/>
                    <a:gd name="T3" fmla="*/ 400 h 15115"/>
                    <a:gd name="T4" fmla="*/ 0 w 2297"/>
                    <a:gd name="T5" fmla="*/ 1008 h 15115"/>
                    <a:gd name="T6" fmla="*/ 16 w 2297"/>
                    <a:gd name="T7" fmla="*/ 1408 h 15115"/>
                    <a:gd name="T8" fmla="*/ 32 w 2297"/>
                    <a:gd name="T9" fmla="*/ 1776 h 15115"/>
                    <a:gd name="T10" fmla="*/ 32 w 2297"/>
                    <a:gd name="T11" fmla="*/ 1936 h 15115"/>
                    <a:gd name="T12" fmla="*/ 32 w 2297"/>
                    <a:gd name="T13" fmla="*/ 1936 h 15115"/>
                    <a:gd name="T14" fmla="*/ 16 w 2297"/>
                    <a:gd name="T15" fmla="*/ 2304 h 15115"/>
                    <a:gd name="T16" fmla="*/ 0 w 2297"/>
                    <a:gd name="T17" fmla="*/ 2704 h 15115"/>
                    <a:gd name="T18" fmla="*/ 0 w 2297"/>
                    <a:gd name="T19" fmla="*/ 3312 h 15115"/>
                    <a:gd name="T20" fmla="*/ 16 w 2297"/>
                    <a:gd name="T21" fmla="*/ 3712 h 15115"/>
                    <a:gd name="T22" fmla="*/ 32 w 2297"/>
                    <a:gd name="T23" fmla="*/ 4080 h 15115"/>
                    <a:gd name="T24" fmla="*/ 32 w 2297"/>
                    <a:gd name="T25" fmla="*/ 4240 h 15115"/>
                    <a:gd name="T26" fmla="*/ 32 w 2297"/>
                    <a:gd name="T27" fmla="*/ 4240 h 15115"/>
                    <a:gd name="T28" fmla="*/ 16 w 2297"/>
                    <a:gd name="T29" fmla="*/ 4608 h 15115"/>
                    <a:gd name="T30" fmla="*/ 0 w 2297"/>
                    <a:gd name="T31" fmla="*/ 5008 h 15115"/>
                    <a:gd name="T32" fmla="*/ 0 w 2297"/>
                    <a:gd name="T33" fmla="*/ 5616 h 15115"/>
                    <a:gd name="T34" fmla="*/ 16 w 2297"/>
                    <a:gd name="T35" fmla="*/ 6016 h 15115"/>
                    <a:gd name="T36" fmla="*/ 32 w 2297"/>
                    <a:gd name="T37" fmla="*/ 6384 h 15115"/>
                    <a:gd name="T38" fmla="*/ 32 w 2297"/>
                    <a:gd name="T39" fmla="*/ 6544 h 15115"/>
                    <a:gd name="T40" fmla="*/ 32 w 2297"/>
                    <a:gd name="T41" fmla="*/ 6544 h 15115"/>
                    <a:gd name="T42" fmla="*/ 16 w 2297"/>
                    <a:gd name="T43" fmla="*/ 6912 h 15115"/>
                    <a:gd name="T44" fmla="*/ 0 w 2297"/>
                    <a:gd name="T45" fmla="*/ 7312 h 15115"/>
                    <a:gd name="T46" fmla="*/ 0 w 2297"/>
                    <a:gd name="T47" fmla="*/ 7920 h 15115"/>
                    <a:gd name="T48" fmla="*/ 16 w 2297"/>
                    <a:gd name="T49" fmla="*/ 8320 h 15115"/>
                    <a:gd name="T50" fmla="*/ 32 w 2297"/>
                    <a:gd name="T51" fmla="*/ 8688 h 15115"/>
                    <a:gd name="T52" fmla="*/ 32 w 2297"/>
                    <a:gd name="T53" fmla="*/ 8848 h 15115"/>
                    <a:gd name="T54" fmla="*/ 32 w 2297"/>
                    <a:gd name="T55" fmla="*/ 8848 h 15115"/>
                    <a:gd name="T56" fmla="*/ 16 w 2297"/>
                    <a:gd name="T57" fmla="*/ 9216 h 15115"/>
                    <a:gd name="T58" fmla="*/ 0 w 2297"/>
                    <a:gd name="T59" fmla="*/ 9616 h 15115"/>
                    <a:gd name="T60" fmla="*/ 0 w 2297"/>
                    <a:gd name="T61" fmla="*/ 10224 h 15115"/>
                    <a:gd name="T62" fmla="*/ 16 w 2297"/>
                    <a:gd name="T63" fmla="*/ 10624 h 15115"/>
                    <a:gd name="T64" fmla="*/ 32 w 2297"/>
                    <a:gd name="T65" fmla="*/ 10992 h 15115"/>
                    <a:gd name="T66" fmla="*/ 32 w 2297"/>
                    <a:gd name="T67" fmla="*/ 11152 h 15115"/>
                    <a:gd name="T68" fmla="*/ 32 w 2297"/>
                    <a:gd name="T69" fmla="*/ 11152 h 15115"/>
                    <a:gd name="T70" fmla="*/ 16 w 2297"/>
                    <a:gd name="T71" fmla="*/ 11520 h 15115"/>
                    <a:gd name="T72" fmla="*/ 0 w 2297"/>
                    <a:gd name="T73" fmla="*/ 11920 h 15115"/>
                    <a:gd name="T74" fmla="*/ 0 w 2297"/>
                    <a:gd name="T75" fmla="*/ 12528 h 15115"/>
                    <a:gd name="T76" fmla="*/ 16 w 2297"/>
                    <a:gd name="T77" fmla="*/ 12928 h 15115"/>
                    <a:gd name="T78" fmla="*/ 32 w 2297"/>
                    <a:gd name="T79" fmla="*/ 13296 h 15115"/>
                    <a:gd name="T80" fmla="*/ 32 w 2297"/>
                    <a:gd name="T81" fmla="*/ 13456 h 15115"/>
                    <a:gd name="T82" fmla="*/ 32 w 2297"/>
                    <a:gd name="T83" fmla="*/ 13456 h 15115"/>
                    <a:gd name="T84" fmla="*/ 16 w 2297"/>
                    <a:gd name="T85" fmla="*/ 13824 h 15115"/>
                    <a:gd name="T86" fmla="*/ 0 w 2297"/>
                    <a:gd name="T87" fmla="*/ 14224 h 15115"/>
                    <a:gd name="T88" fmla="*/ 0 w 2297"/>
                    <a:gd name="T89" fmla="*/ 14832 h 15115"/>
                    <a:gd name="T90" fmla="*/ 16 w 2297"/>
                    <a:gd name="T91" fmla="*/ 15083 h 15115"/>
                    <a:gd name="T92" fmla="*/ 0 w 2297"/>
                    <a:gd name="T93" fmla="*/ 14992 h 15115"/>
                    <a:gd name="T94" fmla="*/ 518 w 2297"/>
                    <a:gd name="T95" fmla="*/ 15115 h 15115"/>
                    <a:gd name="T96" fmla="*/ 918 w 2297"/>
                    <a:gd name="T97" fmla="*/ 15099 h 15115"/>
                    <a:gd name="T98" fmla="*/ 1286 w 2297"/>
                    <a:gd name="T99" fmla="*/ 15083 h 15115"/>
                    <a:gd name="T100" fmla="*/ 1446 w 2297"/>
                    <a:gd name="T101" fmla="*/ 15083 h 15115"/>
                    <a:gd name="T102" fmla="*/ 1446 w 2297"/>
                    <a:gd name="T103" fmla="*/ 15083 h 15115"/>
                    <a:gd name="T104" fmla="*/ 1814 w 2297"/>
                    <a:gd name="T105" fmla="*/ 15099 h 15115"/>
                    <a:gd name="T106" fmla="*/ 2214 w 2297"/>
                    <a:gd name="T107" fmla="*/ 15115 h 15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7" h="15115">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32" y="8080"/>
                      </a:moveTo>
                      <a:lnTo>
                        <a:pt x="32" y="8304"/>
                      </a:lnTo>
                      <a:cubicBezTo>
                        <a:pt x="32" y="8313"/>
                        <a:pt x="25" y="8320"/>
                        <a:pt x="16" y="8320"/>
                      </a:cubicBezTo>
                      <a:cubicBezTo>
                        <a:pt x="8" y="8320"/>
                        <a:pt x="0" y="8313"/>
                        <a:pt x="0" y="8304"/>
                      </a:cubicBezTo>
                      <a:lnTo>
                        <a:pt x="0" y="8080"/>
                      </a:lnTo>
                      <a:cubicBezTo>
                        <a:pt x="0" y="8071"/>
                        <a:pt x="8" y="8064"/>
                        <a:pt x="16" y="8064"/>
                      </a:cubicBezTo>
                      <a:cubicBezTo>
                        <a:pt x="25" y="8064"/>
                        <a:pt x="32" y="8071"/>
                        <a:pt x="32" y="8080"/>
                      </a:cubicBezTo>
                      <a:close/>
                      <a:moveTo>
                        <a:pt x="32" y="8464"/>
                      </a:moveTo>
                      <a:lnTo>
                        <a:pt x="32" y="8688"/>
                      </a:lnTo>
                      <a:cubicBezTo>
                        <a:pt x="32" y="8697"/>
                        <a:pt x="25" y="8704"/>
                        <a:pt x="16" y="8704"/>
                      </a:cubicBezTo>
                      <a:cubicBezTo>
                        <a:pt x="8" y="8704"/>
                        <a:pt x="0" y="8697"/>
                        <a:pt x="0" y="8688"/>
                      </a:cubicBezTo>
                      <a:lnTo>
                        <a:pt x="0" y="8464"/>
                      </a:lnTo>
                      <a:cubicBezTo>
                        <a:pt x="0" y="8455"/>
                        <a:pt x="8" y="8448"/>
                        <a:pt x="16" y="8448"/>
                      </a:cubicBezTo>
                      <a:cubicBezTo>
                        <a:pt x="25" y="8448"/>
                        <a:pt x="32" y="8455"/>
                        <a:pt x="32" y="8464"/>
                      </a:cubicBezTo>
                      <a:close/>
                      <a:moveTo>
                        <a:pt x="32" y="8848"/>
                      </a:moveTo>
                      <a:lnTo>
                        <a:pt x="32" y="9072"/>
                      </a:lnTo>
                      <a:cubicBezTo>
                        <a:pt x="32" y="9081"/>
                        <a:pt x="25" y="9088"/>
                        <a:pt x="16" y="9088"/>
                      </a:cubicBezTo>
                      <a:cubicBezTo>
                        <a:pt x="8" y="9088"/>
                        <a:pt x="0" y="9081"/>
                        <a:pt x="0" y="9072"/>
                      </a:cubicBezTo>
                      <a:lnTo>
                        <a:pt x="0" y="8848"/>
                      </a:lnTo>
                      <a:cubicBezTo>
                        <a:pt x="0" y="8839"/>
                        <a:pt x="8" y="8832"/>
                        <a:pt x="16" y="8832"/>
                      </a:cubicBezTo>
                      <a:cubicBezTo>
                        <a:pt x="25" y="8832"/>
                        <a:pt x="32" y="8839"/>
                        <a:pt x="32" y="8848"/>
                      </a:cubicBezTo>
                      <a:close/>
                      <a:moveTo>
                        <a:pt x="32" y="9232"/>
                      </a:moveTo>
                      <a:lnTo>
                        <a:pt x="32" y="9456"/>
                      </a:lnTo>
                      <a:cubicBezTo>
                        <a:pt x="32" y="9465"/>
                        <a:pt x="25" y="9472"/>
                        <a:pt x="16" y="9472"/>
                      </a:cubicBezTo>
                      <a:cubicBezTo>
                        <a:pt x="8" y="9472"/>
                        <a:pt x="0" y="9465"/>
                        <a:pt x="0" y="9456"/>
                      </a:cubicBezTo>
                      <a:lnTo>
                        <a:pt x="0" y="9232"/>
                      </a:lnTo>
                      <a:cubicBezTo>
                        <a:pt x="0" y="9223"/>
                        <a:pt x="8" y="9216"/>
                        <a:pt x="16" y="9216"/>
                      </a:cubicBezTo>
                      <a:cubicBezTo>
                        <a:pt x="25" y="9216"/>
                        <a:pt x="32" y="9223"/>
                        <a:pt x="32" y="9232"/>
                      </a:cubicBezTo>
                      <a:close/>
                      <a:moveTo>
                        <a:pt x="32" y="9616"/>
                      </a:moveTo>
                      <a:lnTo>
                        <a:pt x="32" y="9840"/>
                      </a:lnTo>
                      <a:cubicBezTo>
                        <a:pt x="32" y="9849"/>
                        <a:pt x="25" y="9856"/>
                        <a:pt x="16" y="9856"/>
                      </a:cubicBezTo>
                      <a:cubicBezTo>
                        <a:pt x="8" y="9856"/>
                        <a:pt x="0" y="9849"/>
                        <a:pt x="0" y="9840"/>
                      </a:cubicBezTo>
                      <a:lnTo>
                        <a:pt x="0" y="9616"/>
                      </a:lnTo>
                      <a:cubicBezTo>
                        <a:pt x="0" y="9607"/>
                        <a:pt x="8" y="9600"/>
                        <a:pt x="16" y="9600"/>
                      </a:cubicBezTo>
                      <a:cubicBezTo>
                        <a:pt x="25" y="9600"/>
                        <a:pt x="32" y="9607"/>
                        <a:pt x="32" y="9616"/>
                      </a:cubicBezTo>
                      <a:close/>
                      <a:moveTo>
                        <a:pt x="32" y="10000"/>
                      </a:moveTo>
                      <a:lnTo>
                        <a:pt x="32" y="10224"/>
                      </a:lnTo>
                      <a:cubicBezTo>
                        <a:pt x="32" y="10233"/>
                        <a:pt x="25" y="10240"/>
                        <a:pt x="16" y="10240"/>
                      </a:cubicBezTo>
                      <a:cubicBezTo>
                        <a:pt x="8" y="10240"/>
                        <a:pt x="0" y="10233"/>
                        <a:pt x="0" y="10224"/>
                      </a:cubicBezTo>
                      <a:lnTo>
                        <a:pt x="0" y="10000"/>
                      </a:lnTo>
                      <a:cubicBezTo>
                        <a:pt x="0" y="9991"/>
                        <a:pt x="8" y="9984"/>
                        <a:pt x="16" y="9984"/>
                      </a:cubicBezTo>
                      <a:cubicBezTo>
                        <a:pt x="25" y="9984"/>
                        <a:pt x="32" y="9991"/>
                        <a:pt x="32" y="10000"/>
                      </a:cubicBezTo>
                      <a:close/>
                      <a:moveTo>
                        <a:pt x="32" y="10384"/>
                      </a:moveTo>
                      <a:lnTo>
                        <a:pt x="32" y="10608"/>
                      </a:lnTo>
                      <a:cubicBezTo>
                        <a:pt x="32" y="10617"/>
                        <a:pt x="25" y="10624"/>
                        <a:pt x="16" y="10624"/>
                      </a:cubicBezTo>
                      <a:cubicBezTo>
                        <a:pt x="8" y="10624"/>
                        <a:pt x="0" y="10617"/>
                        <a:pt x="0" y="10608"/>
                      </a:cubicBezTo>
                      <a:lnTo>
                        <a:pt x="0" y="10384"/>
                      </a:lnTo>
                      <a:cubicBezTo>
                        <a:pt x="0" y="10375"/>
                        <a:pt x="8" y="10368"/>
                        <a:pt x="16" y="10368"/>
                      </a:cubicBezTo>
                      <a:cubicBezTo>
                        <a:pt x="25" y="10368"/>
                        <a:pt x="32" y="10375"/>
                        <a:pt x="32" y="10384"/>
                      </a:cubicBezTo>
                      <a:close/>
                      <a:moveTo>
                        <a:pt x="32" y="10768"/>
                      </a:moveTo>
                      <a:lnTo>
                        <a:pt x="32" y="10992"/>
                      </a:lnTo>
                      <a:cubicBezTo>
                        <a:pt x="32" y="11001"/>
                        <a:pt x="25" y="11008"/>
                        <a:pt x="16" y="11008"/>
                      </a:cubicBezTo>
                      <a:cubicBezTo>
                        <a:pt x="8" y="11008"/>
                        <a:pt x="0" y="11001"/>
                        <a:pt x="0" y="10992"/>
                      </a:cubicBezTo>
                      <a:lnTo>
                        <a:pt x="0" y="10768"/>
                      </a:lnTo>
                      <a:cubicBezTo>
                        <a:pt x="0" y="10759"/>
                        <a:pt x="8" y="10752"/>
                        <a:pt x="16" y="10752"/>
                      </a:cubicBezTo>
                      <a:cubicBezTo>
                        <a:pt x="25" y="10752"/>
                        <a:pt x="32" y="10759"/>
                        <a:pt x="32" y="10768"/>
                      </a:cubicBezTo>
                      <a:close/>
                      <a:moveTo>
                        <a:pt x="32" y="11152"/>
                      </a:moveTo>
                      <a:lnTo>
                        <a:pt x="32" y="11376"/>
                      </a:lnTo>
                      <a:cubicBezTo>
                        <a:pt x="32" y="11385"/>
                        <a:pt x="25" y="11392"/>
                        <a:pt x="16" y="11392"/>
                      </a:cubicBezTo>
                      <a:cubicBezTo>
                        <a:pt x="8" y="11392"/>
                        <a:pt x="0" y="11385"/>
                        <a:pt x="0" y="11376"/>
                      </a:cubicBezTo>
                      <a:lnTo>
                        <a:pt x="0" y="11152"/>
                      </a:lnTo>
                      <a:cubicBezTo>
                        <a:pt x="0" y="11143"/>
                        <a:pt x="8" y="11136"/>
                        <a:pt x="16" y="11136"/>
                      </a:cubicBezTo>
                      <a:cubicBezTo>
                        <a:pt x="25" y="11136"/>
                        <a:pt x="32" y="11143"/>
                        <a:pt x="32" y="11152"/>
                      </a:cubicBezTo>
                      <a:close/>
                      <a:moveTo>
                        <a:pt x="32" y="11536"/>
                      </a:moveTo>
                      <a:lnTo>
                        <a:pt x="32" y="11760"/>
                      </a:lnTo>
                      <a:cubicBezTo>
                        <a:pt x="32" y="11769"/>
                        <a:pt x="25" y="11776"/>
                        <a:pt x="16" y="11776"/>
                      </a:cubicBezTo>
                      <a:cubicBezTo>
                        <a:pt x="8" y="11776"/>
                        <a:pt x="0" y="11769"/>
                        <a:pt x="0" y="11760"/>
                      </a:cubicBezTo>
                      <a:lnTo>
                        <a:pt x="0" y="11536"/>
                      </a:lnTo>
                      <a:cubicBezTo>
                        <a:pt x="0" y="11527"/>
                        <a:pt x="8" y="11520"/>
                        <a:pt x="16" y="11520"/>
                      </a:cubicBezTo>
                      <a:cubicBezTo>
                        <a:pt x="25" y="11520"/>
                        <a:pt x="32" y="11527"/>
                        <a:pt x="32" y="11536"/>
                      </a:cubicBezTo>
                      <a:close/>
                      <a:moveTo>
                        <a:pt x="32" y="11920"/>
                      </a:moveTo>
                      <a:lnTo>
                        <a:pt x="32" y="12144"/>
                      </a:lnTo>
                      <a:cubicBezTo>
                        <a:pt x="32" y="12153"/>
                        <a:pt x="25" y="12160"/>
                        <a:pt x="16" y="12160"/>
                      </a:cubicBezTo>
                      <a:cubicBezTo>
                        <a:pt x="8" y="12160"/>
                        <a:pt x="0" y="12153"/>
                        <a:pt x="0" y="12144"/>
                      </a:cubicBezTo>
                      <a:lnTo>
                        <a:pt x="0" y="11920"/>
                      </a:lnTo>
                      <a:cubicBezTo>
                        <a:pt x="0" y="11911"/>
                        <a:pt x="8" y="11904"/>
                        <a:pt x="16" y="11904"/>
                      </a:cubicBezTo>
                      <a:cubicBezTo>
                        <a:pt x="25" y="11904"/>
                        <a:pt x="32" y="11911"/>
                        <a:pt x="32" y="11920"/>
                      </a:cubicBezTo>
                      <a:close/>
                      <a:moveTo>
                        <a:pt x="32" y="12304"/>
                      </a:moveTo>
                      <a:lnTo>
                        <a:pt x="32" y="12528"/>
                      </a:lnTo>
                      <a:cubicBezTo>
                        <a:pt x="32" y="12537"/>
                        <a:pt x="25" y="12544"/>
                        <a:pt x="16" y="12544"/>
                      </a:cubicBezTo>
                      <a:cubicBezTo>
                        <a:pt x="8" y="12544"/>
                        <a:pt x="0" y="12537"/>
                        <a:pt x="0" y="12528"/>
                      </a:cubicBezTo>
                      <a:lnTo>
                        <a:pt x="0" y="12304"/>
                      </a:lnTo>
                      <a:cubicBezTo>
                        <a:pt x="0" y="12295"/>
                        <a:pt x="8" y="12288"/>
                        <a:pt x="16" y="12288"/>
                      </a:cubicBezTo>
                      <a:cubicBezTo>
                        <a:pt x="25" y="12288"/>
                        <a:pt x="32" y="12295"/>
                        <a:pt x="32" y="12304"/>
                      </a:cubicBezTo>
                      <a:close/>
                      <a:moveTo>
                        <a:pt x="32" y="12688"/>
                      </a:moveTo>
                      <a:lnTo>
                        <a:pt x="32" y="12912"/>
                      </a:lnTo>
                      <a:cubicBezTo>
                        <a:pt x="32" y="12921"/>
                        <a:pt x="25" y="12928"/>
                        <a:pt x="16" y="12928"/>
                      </a:cubicBezTo>
                      <a:cubicBezTo>
                        <a:pt x="8" y="12928"/>
                        <a:pt x="0" y="12921"/>
                        <a:pt x="0" y="12912"/>
                      </a:cubicBezTo>
                      <a:lnTo>
                        <a:pt x="0" y="12688"/>
                      </a:lnTo>
                      <a:cubicBezTo>
                        <a:pt x="0" y="12679"/>
                        <a:pt x="8" y="12672"/>
                        <a:pt x="16" y="12672"/>
                      </a:cubicBezTo>
                      <a:cubicBezTo>
                        <a:pt x="25" y="12672"/>
                        <a:pt x="32" y="12679"/>
                        <a:pt x="32" y="12688"/>
                      </a:cubicBezTo>
                      <a:close/>
                      <a:moveTo>
                        <a:pt x="32" y="13072"/>
                      </a:moveTo>
                      <a:lnTo>
                        <a:pt x="32" y="13296"/>
                      </a:lnTo>
                      <a:cubicBezTo>
                        <a:pt x="32" y="13305"/>
                        <a:pt x="25" y="13312"/>
                        <a:pt x="16" y="13312"/>
                      </a:cubicBezTo>
                      <a:cubicBezTo>
                        <a:pt x="8" y="13312"/>
                        <a:pt x="0" y="13305"/>
                        <a:pt x="0" y="13296"/>
                      </a:cubicBezTo>
                      <a:lnTo>
                        <a:pt x="0" y="13072"/>
                      </a:lnTo>
                      <a:cubicBezTo>
                        <a:pt x="0" y="13063"/>
                        <a:pt x="8" y="13056"/>
                        <a:pt x="16" y="13056"/>
                      </a:cubicBezTo>
                      <a:cubicBezTo>
                        <a:pt x="25" y="13056"/>
                        <a:pt x="32" y="13063"/>
                        <a:pt x="32" y="13072"/>
                      </a:cubicBezTo>
                      <a:close/>
                      <a:moveTo>
                        <a:pt x="32" y="13456"/>
                      </a:moveTo>
                      <a:lnTo>
                        <a:pt x="32" y="13680"/>
                      </a:lnTo>
                      <a:cubicBezTo>
                        <a:pt x="32" y="13689"/>
                        <a:pt x="25" y="13696"/>
                        <a:pt x="16" y="13696"/>
                      </a:cubicBezTo>
                      <a:cubicBezTo>
                        <a:pt x="8" y="13696"/>
                        <a:pt x="0" y="13689"/>
                        <a:pt x="0" y="13680"/>
                      </a:cubicBezTo>
                      <a:lnTo>
                        <a:pt x="0" y="13456"/>
                      </a:lnTo>
                      <a:cubicBezTo>
                        <a:pt x="0" y="13447"/>
                        <a:pt x="8" y="13440"/>
                        <a:pt x="16" y="13440"/>
                      </a:cubicBezTo>
                      <a:cubicBezTo>
                        <a:pt x="25" y="13440"/>
                        <a:pt x="32" y="13447"/>
                        <a:pt x="32" y="13456"/>
                      </a:cubicBezTo>
                      <a:close/>
                      <a:moveTo>
                        <a:pt x="32" y="13840"/>
                      </a:moveTo>
                      <a:lnTo>
                        <a:pt x="32" y="14064"/>
                      </a:lnTo>
                      <a:cubicBezTo>
                        <a:pt x="32" y="14073"/>
                        <a:pt x="25" y="14080"/>
                        <a:pt x="16" y="14080"/>
                      </a:cubicBezTo>
                      <a:cubicBezTo>
                        <a:pt x="8" y="14080"/>
                        <a:pt x="0" y="14073"/>
                        <a:pt x="0" y="14064"/>
                      </a:cubicBezTo>
                      <a:lnTo>
                        <a:pt x="0" y="13840"/>
                      </a:lnTo>
                      <a:cubicBezTo>
                        <a:pt x="0" y="13831"/>
                        <a:pt x="8" y="13824"/>
                        <a:pt x="16" y="13824"/>
                      </a:cubicBezTo>
                      <a:cubicBezTo>
                        <a:pt x="25" y="13824"/>
                        <a:pt x="32" y="13831"/>
                        <a:pt x="32" y="13840"/>
                      </a:cubicBezTo>
                      <a:close/>
                      <a:moveTo>
                        <a:pt x="32" y="14224"/>
                      </a:moveTo>
                      <a:lnTo>
                        <a:pt x="32" y="14448"/>
                      </a:lnTo>
                      <a:cubicBezTo>
                        <a:pt x="32" y="14457"/>
                        <a:pt x="25" y="14464"/>
                        <a:pt x="16" y="14464"/>
                      </a:cubicBezTo>
                      <a:cubicBezTo>
                        <a:pt x="8" y="14464"/>
                        <a:pt x="0" y="14457"/>
                        <a:pt x="0" y="14448"/>
                      </a:cubicBezTo>
                      <a:lnTo>
                        <a:pt x="0" y="14224"/>
                      </a:lnTo>
                      <a:cubicBezTo>
                        <a:pt x="0" y="14215"/>
                        <a:pt x="8" y="14208"/>
                        <a:pt x="16" y="14208"/>
                      </a:cubicBezTo>
                      <a:cubicBezTo>
                        <a:pt x="25" y="14208"/>
                        <a:pt x="32" y="14215"/>
                        <a:pt x="32" y="14224"/>
                      </a:cubicBezTo>
                      <a:close/>
                      <a:moveTo>
                        <a:pt x="32" y="14608"/>
                      </a:moveTo>
                      <a:lnTo>
                        <a:pt x="32" y="14832"/>
                      </a:lnTo>
                      <a:cubicBezTo>
                        <a:pt x="32" y="14841"/>
                        <a:pt x="25" y="14848"/>
                        <a:pt x="16" y="14848"/>
                      </a:cubicBezTo>
                      <a:cubicBezTo>
                        <a:pt x="8" y="14848"/>
                        <a:pt x="0" y="14841"/>
                        <a:pt x="0" y="14832"/>
                      </a:cubicBezTo>
                      <a:lnTo>
                        <a:pt x="0" y="14608"/>
                      </a:lnTo>
                      <a:cubicBezTo>
                        <a:pt x="0" y="14599"/>
                        <a:pt x="8" y="14592"/>
                        <a:pt x="16" y="14592"/>
                      </a:cubicBezTo>
                      <a:cubicBezTo>
                        <a:pt x="25" y="14592"/>
                        <a:pt x="32" y="14599"/>
                        <a:pt x="32" y="14608"/>
                      </a:cubicBezTo>
                      <a:close/>
                      <a:moveTo>
                        <a:pt x="32" y="14992"/>
                      </a:moveTo>
                      <a:lnTo>
                        <a:pt x="32" y="15099"/>
                      </a:lnTo>
                      <a:lnTo>
                        <a:pt x="16" y="15083"/>
                      </a:lnTo>
                      <a:lnTo>
                        <a:pt x="134" y="15083"/>
                      </a:lnTo>
                      <a:cubicBezTo>
                        <a:pt x="143" y="15083"/>
                        <a:pt x="150" y="15090"/>
                        <a:pt x="150" y="15099"/>
                      </a:cubicBezTo>
                      <a:cubicBezTo>
                        <a:pt x="150" y="15108"/>
                        <a:pt x="143" y="15115"/>
                        <a:pt x="134" y="15115"/>
                      </a:cubicBezTo>
                      <a:lnTo>
                        <a:pt x="16" y="15115"/>
                      </a:lnTo>
                      <a:cubicBezTo>
                        <a:pt x="8" y="15115"/>
                        <a:pt x="0" y="15108"/>
                        <a:pt x="0" y="15099"/>
                      </a:cubicBezTo>
                      <a:lnTo>
                        <a:pt x="0" y="14992"/>
                      </a:lnTo>
                      <a:cubicBezTo>
                        <a:pt x="0" y="14983"/>
                        <a:pt x="8" y="14976"/>
                        <a:pt x="16" y="14976"/>
                      </a:cubicBezTo>
                      <a:cubicBezTo>
                        <a:pt x="25" y="14976"/>
                        <a:pt x="32" y="14983"/>
                        <a:pt x="32" y="14992"/>
                      </a:cubicBezTo>
                      <a:close/>
                      <a:moveTo>
                        <a:pt x="294" y="15083"/>
                      </a:moveTo>
                      <a:lnTo>
                        <a:pt x="518" y="15083"/>
                      </a:lnTo>
                      <a:cubicBezTo>
                        <a:pt x="527" y="15083"/>
                        <a:pt x="534" y="15090"/>
                        <a:pt x="534" y="15099"/>
                      </a:cubicBezTo>
                      <a:cubicBezTo>
                        <a:pt x="534" y="15108"/>
                        <a:pt x="527" y="15115"/>
                        <a:pt x="518" y="15115"/>
                      </a:cubicBezTo>
                      <a:lnTo>
                        <a:pt x="294" y="15115"/>
                      </a:lnTo>
                      <a:cubicBezTo>
                        <a:pt x="285" y="15115"/>
                        <a:pt x="278" y="15108"/>
                        <a:pt x="278" y="15099"/>
                      </a:cubicBezTo>
                      <a:cubicBezTo>
                        <a:pt x="278" y="15090"/>
                        <a:pt x="285" y="15083"/>
                        <a:pt x="294" y="15083"/>
                      </a:cubicBezTo>
                      <a:close/>
                      <a:moveTo>
                        <a:pt x="678" y="15083"/>
                      </a:moveTo>
                      <a:lnTo>
                        <a:pt x="902" y="15083"/>
                      </a:lnTo>
                      <a:cubicBezTo>
                        <a:pt x="911" y="15083"/>
                        <a:pt x="918" y="15090"/>
                        <a:pt x="918" y="15099"/>
                      </a:cubicBezTo>
                      <a:cubicBezTo>
                        <a:pt x="918" y="15108"/>
                        <a:pt x="911" y="15115"/>
                        <a:pt x="902" y="15115"/>
                      </a:cubicBezTo>
                      <a:lnTo>
                        <a:pt x="678" y="15115"/>
                      </a:lnTo>
                      <a:cubicBezTo>
                        <a:pt x="669" y="15115"/>
                        <a:pt x="662" y="15108"/>
                        <a:pt x="662" y="15099"/>
                      </a:cubicBezTo>
                      <a:cubicBezTo>
                        <a:pt x="662" y="15090"/>
                        <a:pt x="669" y="15083"/>
                        <a:pt x="678" y="15083"/>
                      </a:cubicBezTo>
                      <a:close/>
                      <a:moveTo>
                        <a:pt x="1062" y="15083"/>
                      </a:moveTo>
                      <a:lnTo>
                        <a:pt x="1286" y="15083"/>
                      </a:lnTo>
                      <a:cubicBezTo>
                        <a:pt x="1295" y="15083"/>
                        <a:pt x="1302" y="15090"/>
                        <a:pt x="1302" y="15099"/>
                      </a:cubicBezTo>
                      <a:cubicBezTo>
                        <a:pt x="1302" y="15108"/>
                        <a:pt x="1295" y="15115"/>
                        <a:pt x="1286" y="15115"/>
                      </a:cubicBezTo>
                      <a:lnTo>
                        <a:pt x="1062" y="15115"/>
                      </a:lnTo>
                      <a:cubicBezTo>
                        <a:pt x="1053" y="15115"/>
                        <a:pt x="1046" y="15108"/>
                        <a:pt x="1046" y="15099"/>
                      </a:cubicBezTo>
                      <a:cubicBezTo>
                        <a:pt x="1046" y="15090"/>
                        <a:pt x="1053" y="15083"/>
                        <a:pt x="1062" y="15083"/>
                      </a:cubicBezTo>
                      <a:close/>
                      <a:moveTo>
                        <a:pt x="1446" y="15083"/>
                      </a:moveTo>
                      <a:lnTo>
                        <a:pt x="1670" y="15083"/>
                      </a:lnTo>
                      <a:cubicBezTo>
                        <a:pt x="1679" y="15083"/>
                        <a:pt x="1686" y="15090"/>
                        <a:pt x="1686" y="15099"/>
                      </a:cubicBezTo>
                      <a:cubicBezTo>
                        <a:pt x="1686" y="15108"/>
                        <a:pt x="1679" y="15115"/>
                        <a:pt x="1670" y="15115"/>
                      </a:cubicBezTo>
                      <a:lnTo>
                        <a:pt x="1446" y="15115"/>
                      </a:lnTo>
                      <a:cubicBezTo>
                        <a:pt x="1437" y="15115"/>
                        <a:pt x="1430" y="15108"/>
                        <a:pt x="1430" y="15099"/>
                      </a:cubicBezTo>
                      <a:cubicBezTo>
                        <a:pt x="1430" y="15090"/>
                        <a:pt x="1437" y="15083"/>
                        <a:pt x="1446" y="15083"/>
                      </a:cubicBezTo>
                      <a:close/>
                      <a:moveTo>
                        <a:pt x="1830" y="15083"/>
                      </a:moveTo>
                      <a:lnTo>
                        <a:pt x="2054" y="15083"/>
                      </a:lnTo>
                      <a:cubicBezTo>
                        <a:pt x="2063" y="15083"/>
                        <a:pt x="2070" y="15090"/>
                        <a:pt x="2070" y="15099"/>
                      </a:cubicBezTo>
                      <a:cubicBezTo>
                        <a:pt x="2070" y="15108"/>
                        <a:pt x="2063" y="15115"/>
                        <a:pt x="2054" y="15115"/>
                      </a:cubicBezTo>
                      <a:lnTo>
                        <a:pt x="1830" y="15115"/>
                      </a:lnTo>
                      <a:cubicBezTo>
                        <a:pt x="1821" y="15115"/>
                        <a:pt x="1814" y="15108"/>
                        <a:pt x="1814" y="15099"/>
                      </a:cubicBezTo>
                      <a:cubicBezTo>
                        <a:pt x="1814" y="15090"/>
                        <a:pt x="1821" y="15083"/>
                        <a:pt x="1830" y="15083"/>
                      </a:cubicBezTo>
                      <a:close/>
                      <a:moveTo>
                        <a:pt x="2214" y="15083"/>
                      </a:moveTo>
                      <a:lnTo>
                        <a:pt x="2281" y="15083"/>
                      </a:lnTo>
                      <a:cubicBezTo>
                        <a:pt x="2290" y="15083"/>
                        <a:pt x="2297" y="15090"/>
                        <a:pt x="2297" y="15099"/>
                      </a:cubicBezTo>
                      <a:cubicBezTo>
                        <a:pt x="2297" y="15108"/>
                        <a:pt x="2290" y="15115"/>
                        <a:pt x="2281" y="15115"/>
                      </a:cubicBezTo>
                      <a:lnTo>
                        <a:pt x="2214" y="15115"/>
                      </a:lnTo>
                      <a:cubicBezTo>
                        <a:pt x="2205" y="15115"/>
                        <a:pt x="2198" y="15108"/>
                        <a:pt x="2198" y="15099"/>
                      </a:cubicBezTo>
                      <a:cubicBezTo>
                        <a:pt x="2198" y="15090"/>
                        <a:pt x="2205" y="15083"/>
                        <a:pt x="2214" y="15083"/>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03">
                  <a:extLst>
                    <a:ext uri="{FF2B5EF4-FFF2-40B4-BE49-F238E27FC236}">
                      <a16:creationId xmlns:a16="http://schemas.microsoft.com/office/drawing/2014/main" id="{073B37B0-B140-41F2-9616-C9C41E4E9C66}"/>
                    </a:ext>
                  </a:extLst>
                </p:cNvPr>
                <p:cNvSpPr>
                  <a:spLocks/>
                </p:cNvSpPr>
                <p:nvPr/>
              </p:nvSpPr>
              <p:spPr bwMode="auto">
                <a:xfrm>
                  <a:off x="1498601" y="2053431"/>
                  <a:ext cx="227013" cy="3508375"/>
                </a:xfrm>
                <a:custGeom>
                  <a:avLst/>
                  <a:gdLst>
                    <a:gd name="T0" fmla="*/ 0 w 143"/>
                    <a:gd name="T1" fmla="*/ 0 h 2210"/>
                    <a:gd name="T2" fmla="*/ 0 w 143"/>
                    <a:gd name="T3" fmla="*/ 2210 h 2210"/>
                    <a:gd name="T4" fmla="*/ 143 w 143"/>
                    <a:gd name="T5" fmla="*/ 2210 h 2210"/>
                  </a:gdLst>
                  <a:ahLst/>
                  <a:cxnLst>
                    <a:cxn ang="0">
                      <a:pos x="T0" y="T1"/>
                    </a:cxn>
                    <a:cxn ang="0">
                      <a:pos x="T2" y="T3"/>
                    </a:cxn>
                    <a:cxn ang="0">
                      <a:pos x="T4" y="T5"/>
                    </a:cxn>
                  </a:cxnLst>
                  <a:rect l="0" t="0" r="r" b="b"/>
                  <a:pathLst>
                    <a:path w="143" h="2210">
                      <a:moveTo>
                        <a:pt x="0" y="0"/>
                      </a:moveTo>
                      <a:lnTo>
                        <a:pt x="0" y="2210"/>
                      </a:lnTo>
                      <a:lnTo>
                        <a:pt x="143" y="221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Freeform 119">
                  <a:extLst>
                    <a:ext uri="{FF2B5EF4-FFF2-40B4-BE49-F238E27FC236}">
                      <a16:creationId xmlns:a16="http://schemas.microsoft.com/office/drawing/2014/main" id="{12A77B4F-294F-4F19-9237-6257B5AA76DA}"/>
                    </a:ext>
                  </a:extLst>
                </p:cNvPr>
                <p:cNvSpPr>
                  <a:spLocks/>
                </p:cNvSpPr>
                <p:nvPr/>
              </p:nvSpPr>
              <p:spPr bwMode="auto">
                <a:xfrm>
                  <a:off x="1498601" y="2053431"/>
                  <a:ext cx="227013" cy="2967038"/>
                </a:xfrm>
                <a:custGeom>
                  <a:avLst/>
                  <a:gdLst>
                    <a:gd name="T0" fmla="*/ 0 w 143"/>
                    <a:gd name="T1" fmla="*/ 0 h 1869"/>
                    <a:gd name="T2" fmla="*/ 0 w 143"/>
                    <a:gd name="T3" fmla="*/ 1869 h 1869"/>
                    <a:gd name="T4" fmla="*/ 143 w 143"/>
                    <a:gd name="T5" fmla="*/ 1869 h 1869"/>
                  </a:gdLst>
                  <a:ahLst/>
                  <a:cxnLst>
                    <a:cxn ang="0">
                      <a:pos x="T0" y="T1"/>
                    </a:cxn>
                    <a:cxn ang="0">
                      <a:pos x="T2" y="T3"/>
                    </a:cxn>
                    <a:cxn ang="0">
                      <a:pos x="T4" y="T5"/>
                    </a:cxn>
                  </a:cxnLst>
                  <a:rect l="0" t="0" r="r" b="b"/>
                  <a:pathLst>
                    <a:path w="143" h="1869">
                      <a:moveTo>
                        <a:pt x="0" y="0"/>
                      </a:moveTo>
                      <a:lnTo>
                        <a:pt x="0" y="1869"/>
                      </a:lnTo>
                      <a:lnTo>
                        <a:pt x="143" y="1869"/>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AF4CF3A9-54E0-4CAB-A538-256FCCDB34EC}"/>
                  </a:ext>
                </a:extLst>
              </p:cNvPr>
              <p:cNvGrpSpPr/>
              <p:nvPr/>
            </p:nvGrpSpPr>
            <p:grpSpPr>
              <a:xfrm>
                <a:off x="1592263" y="4839494"/>
                <a:ext cx="2944813" cy="1889125"/>
                <a:chOff x="1592263" y="4839494"/>
                <a:chExt cx="2944813" cy="1889125"/>
              </a:xfrm>
            </p:grpSpPr>
            <p:sp>
              <p:nvSpPr>
                <p:cNvPr id="146" name="Rectangle 38">
                  <a:extLst>
                    <a:ext uri="{FF2B5EF4-FFF2-40B4-BE49-F238E27FC236}">
                      <a16:creationId xmlns:a16="http://schemas.microsoft.com/office/drawing/2014/main" id="{017A749F-3CEC-4BD7-B591-B9592C36995A}"/>
                    </a:ext>
                  </a:extLst>
                </p:cNvPr>
                <p:cNvSpPr>
                  <a:spLocks noChangeArrowheads="1"/>
                </p:cNvSpPr>
                <p:nvPr/>
              </p:nvSpPr>
              <p:spPr bwMode="auto">
                <a:xfrm>
                  <a:off x="3225801" y="4899819"/>
                  <a:ext cx="13112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quest Contribu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7" name="Freeform 40">
                  <a:extLst>
                    <a:ext uri="{FF2B5EF4-FFF2-40B4-BE49-F238E27FC236}">
                      <a16:creationId xmlns:a16="http://schemas.microsoft.com/office/drawing/2014/main" id="{1163F11B-726E-460D-8EB7-C217B1B791CE}"/>
                    </a:ext>
                  </a:extLst>
                </p:cNvPr>
                <p:cNvSpPr>
                  <a:spLocks/>
                </p:cNvSpPr>
                <p:nvPr/>
              </p:nvSpPr>
              <p:spPr bwMode="auto">
                <a:xfrm>
                  <a:off x="2997201" y="4868069"/>
                  <a:ext cx="115888" cy="114300"/>
                </a:xfrm>
                <a:custGeom>
                  <a:avLst/>
                  <a:gdLst>
                    <a:gd name="T0" fmla="*/ 194 w 385"/>
                    <a:gd name="T1" fmla="*/ 385 h 385"/>
                    <a:gd name="T2" fmla="*/ 385 w 385"/>
                    <a:gd name="T3" fmla="*/ 194 h 385"/>
                    <a:gd name="T4" fmla="*/ 273 w 385"/>
                    <a:gd name="T5" fmla="*/ 18 h 385"/>
                    <a:gd name="T6" fmla="*/ 194 w 385"/>
                    <a:gd name="T7" fmla="*/ 0 h 385"/>
                    <a:gd name="T8" fmla="*/ 115 w 385"/>
                    <a:gd name="T9" fmla="*/ 18 h 385"/>
                    <a:gd name="T10" fmla="*/ 2 w 385"/>
                    <a:gd name="T11" fmla="*/ 194 h 385"/>
                    <a:gd name="T12" fmla="*/ 194 w 385"/>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5" h="385">
                      <a:moveTo>
                        <a:pt x="194" y="385"/>
                      </a:moveTo>
                      <a:cubicBezTo>
                        <a:pt x="300" y="385"/>
                        <a:pt x="385" y="300"/>
                        <a:pt x="385" y="194"/>
                      </a:cubicBezTo>
                      <a:cubicBezTo>
                        <a:pt x="385" y="115"/>
                        <a:pt x="338" y="49"/>
                        <a:pt x="273" y="18"/>
                      </a:cubicBezTo>
                      <a:cubicBezTo>
                        <a:pt x="248" y="6"/>
                        <a:pt x="221" y="0"/>
                        <a:pt x="194" y="0"/>
                      </a:cubicBezTo>
                      <a:cubicBezTo>
                        <a:pt x="167" y="0"/>
                        <a:pt x="137" y="6"/>
                        <a:pt x="115" y="18"/>
                      </a:cubicBezTo>
                      <a:cubicBezTo>
                        <a:pt x="49"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41">
                  <a:extLst>
                    <a:ext uri="{FF2B5EF4-FFF2-40B4-BE49-F238E27FC236}">
                      <a16:creationId xmlns:a16="http://schemas.microsoft.com/office/drawing/2014/main" id="{B50B4DC3-14D6-4682-955A-DE60E36DFE78}"/>
                    </a:ext>
                  </a:extLst>
                </p:cNvPr>
                <p:cNvSpPr>
                  <a:spLocks/>
                </p:cNvSpPr>
                <p:nvPr/>
              </p:nvSpPr>
              <p:spPr bwMode="auto">
                <a:xfrm>
                  <a:off x="2970213" y="4996656"/>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42">
                  <a:extLst>
                    <a:ext uri="{FF2B5EF4-FFF2-40B4-BE49-F238E27FC236}">
                      <a16:creationId xmlns:a16="http://schemas.microsoft.com/office/drawing/2014/main" id="{B6FA920C-FC97-40B3-BED9-D7796DF1CA94}"/>
                    </a:ext>
                  </a:extLst>
                </p:cNvPr>
                <p:cNvSpPr>
                  <a:spLocks/>
                </p:cNvSpPr>
                <p:nvPr/>
              </p:nvSpPr>
              <p:spPr bwMode="auto">
                <a:xfrm>
                  <a:off x="2876551" y="5025231"/>
                  <a:ext cx="79375" cy="57150"/>
                </a:xfrm>
                <a:custGeom>
                  <a:avLst/>
                  <a:gdLst>
                    <a:gd name="T0" fmla="*/ 0 w 269"/>
                    <a:gd name="T1" fmla="*/ 194 h 194"/>
                    <a:gd name="T2" fmla="*/ 226 w 269"/>
                    <a:gd name="T3" fmla="*/ 194 h 194"/>
                    <a:gd name="T4" fmla="*/ 269 w 269"/>
                    <a:gd name="T5" fmla="*/ 19 h 194"/>
                    <a:gd name="T6" fmla="*/ 192 w 269"/>
                    <a:gd name="T7" fmla="*/ 3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3"/>
                        <a:pt x="269" y="19"/>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43">
                  <a:extLst>
                    <a:ext uri="{FF2B5EF4-FFF2-40B4-BE49-F238E27FC236}">
                      <a16:creationId xmlns:a16="http://schemas.microsoft.com/office/drawing/2014/main" id="{E28D968C-8CA2-4340-ABD9-0884C3368F11}"/>
                    </a:ext>
                  </a:extLst>
                </p:cNvPr>
                <p:cNvSpPr>
                  <a:spLocks/>
                </p:cNvSpPr>
                <p:nvPr/>
              </p:nvSpPr>
              <p:spPr bwMode="auto">
                <a:xfrm>
                  <a:off x="2890838" y="4925219"/>
                  <a:ext cx="85725" cy="85725"/>
                </a:xfrm>
                <a:custGeom>
                  <a:avLst/>
                  <a:gdLst>
                    <a:gd name="T0" fmla="*/ 144 w 289"/>
                    <a:gd name="T1" fmla="*/ 0 h 288"/>
                    <a:gd name="T2" fmla="*/ 0 w 289"/>
                    <a:gd name="T3" fmla="*/ 144 h 288"/>
                    <a:gd name="T4" fmla="*/ 52 w 289"/>
                    <a:gd name="T5" fmla="*/ 255 h 288"/>
                    <a:gd name="T6" fmla="*/ 135 w 289"/>
                    <a:gd name="T7" fmla="*/ 288 h 288"/>
                    <a:gd name="T8" fmla="*/ 144 w 289"/>
                    <a:gd name="T9" fmla="*/ 288 h 288"/>
                    <a:gd name="T10" fmla="*/ 153 w 289"/>
                    <a:gd name="T11" fmla="*/ 288 h 288"/>
                    <a:gd name="T12" fmla="*/ 237 w 289"/>
                    <a:gd name="T13" fmla="*/ 255 h 288"/>
                    <a:gd name="T14" fmla="*/ 289 w 289"/>
                    <a:gd name="T15" fmla="*/ 144 h 288"/>
                    <a:gd name="T16" fmla="*/ 144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4" y="0"/>
                      </a:moveTo>
                      <a:cubicBezTo>
                        <a:pt x="65" y="0"/>
                        <a:pt x="0" y="65"/>
                        <a:pt x="0" y="144"/>
                      </a:cubicBezTo>
                      <a:cubicBezTo>
                        <a:pt x="0" y="189"/>
                        <a:pt x="20" y="227"/>
                        <a:pt x="52" y="255"/>
                      </a:cubicBezTo>
                      <a:cubicBezTo>
                        <a:pt x="74" y="275"/>
                        <a:pt x="104" y="286"/>
                        <a:pt x="135" y="288"/>
                      </a:cubicBezTo>
                      <a:cubicBezTo>
                        <a:pt x="137" y="288"/>
                        <a:pt x="140" y="288"/>
                        <a:pt x="144" y="288"/>
                      </a:cubicBezTo>
                      <a:cubicBezTo>
                        <a:pt x="146" y="288"/>
                        <a:pt x="149" y="288"/>
                        <a:pt x="153" y="288"/>
                      </a:cubicBezTo>
                      <a:cubicBezTo>
                        <a:pt x="185" y="286"/>
                        <a:pt x="214" y="275"/>
                        <a:pt x="237" y="255"/>
                      </a:cubicBezTo>
                      <a:cubicBezTo>
                        <a:pt x="268" y="227"/>
                        <a:pt x="289" y="189"/>
                        <a:pt x="289" y="144"/>
                      </a:cubicBezTo>
                      <a:cubicBezTo>
                        <a:pt x="289" y="65"/>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82">
                  <a:extLst>
                    <a:ext uri="{FF2B5EF4-FFF2-40B4-BE49-F238E27FC236}">
                      <a16:creationId xmlns:a16="http://schemas.microsoft.com/office/drawing/2014/main" id="{79E0B692-BD3A-4379-9A1B-DFE49AA56F00}"/>
                    </a:ext>
                  </a:extLst>
                </p:cNvPr>
                <p:cNvSpPr>
                  <a:spLocks/>
                </p:cNvSpPr>
                <p:nvPr/>
              </p:nvSpPr>
              <p:spPr bwMode="auto">
                <a:xfrm>
                  <a:off x="2236788" y="5947569"/>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83">
                  <a:extLst>
                    <a:ext uri="{FF2B5EF4-FFF2-40B4-BE49-F238E27FC236}">
                      <a16:creationId xmlns:a16="http://schemas.microsoft.com/office/drawing/2014/main" id="{DE103B9C-2FBB-4F37-8434-4B591831664D}"/>
                    </a:ext>
                  </a:extLst>
                </p:cNvPr>
                <p:cNvSpPr>
                  <a:spLocks/>
                </p:cNvSpPr>
                <p:nvPr/>
              </p:nvSpPr>
              <p:spPr bwMode="auto">
                <a:xfrm>
                  <a:off x="2236788" y="5947569"/>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Rectangle 84">
                  <a:extLst>
                    <a:ext uri="{FF2B5EF4-FFF2-40B4-BE49-F238E27FC236}">
                      <a16:creationId xmlns:a16="http://schemas.microsoft.com/office/drawing/2014/main" id="{5ECE24E2-C84B-457B-8F6F-1B13EFFA0F27}"/>
                    </a:ext>
                  </a:extLst>
                </p:cNvPr>
                <p:cNvSpPr>
                  <a:spLocks noChangeArrowheads="1"/>
                </p:cNvSpPr>
                <p:nvPr/>
              </p:nvSpPr>
              <p:spPr bwMode="auto">
                <a:xfrm>
                  <a:off x="2551113" y="6044406"/>
                  <a:ext cx="438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Team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4" name="Freeform 85">
                  <a:extLst>
                    <a:ext uri="{FF2B5EF4-FFF2-40B4-BE49-F238E27FC236}">
                      <a16:creationId xmlns:a16="http://schemas.microsoft.com/office/drawing/2014/main" id="{CDEAD192-859D-4C5E-82B6-0F9D8E52559E}"/>
                    </a:ext>
                  </a:extLst>
                </p:cNvPr>
                <p:cNvSpPr>
                  <a:spLocks/>
                </p:cNvSpPr>
                <p:nvPr/>
              </p:nvSpPr>
              <p:spPr bwMode="auto">
                <a:xfrm>
                  <a:off x="2236788" y="636508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86">
                  <a:extLst>
                    <a:ext uri="{FF2B5EF4-FFF2-40B4-BE49-F238E27FC236}">
                      <a16:creationId xmlns:a16="http://schemas.microsoft.com/office/drawing/2014/main" id="{927BA17E-901D-409C-8389-E174D78A695E}"/>
                    </a:ext>
                  </a:extLst>
                </p:cNvPr>
                <p:cNvSpPr>
                  <a:spLocks/>
                </p:cNvSpPr>
                <p:nvPr/>
              </p:nvSpPr>
              <p:spPr bwMode="auto">
                <a:xfrm>
                  <a:off x="2236788" y="636508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Rectangle 87">
                  <a:extLst>
                    <a:ext uri="{FF2B5EF4-FFF2-40B4-BE49-F238E27FC236}">
                      <a16:creationId xmlns:a16="http://schemas.microsoft.com/office/drawing/2014/main" id="{4650E50D-75F3-44AA-BA9D-AFF0E6AC20BB}"/>
                    </a:ext>
                  </a:extLst>
                </p:cNvPr>
                <p:cNvSpPr>
                  <a:spLocks noChangeArrowheads="1"/>
                </p:cNvSpPr>
                <p:nvPr/>
              </p:nvSpPr>
              <p:spPr bwMode="auto">
                <a:xfrm>
                  <a:off x="2325688" y="6474619"/>
                  <a:ext cx="85248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Power Auto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7" name="Rectangle 88">
                  <a:extLst>
                    <a:ext uri="{FF2B5EF4-FFF2-40B4-BE49-F238E27FC236}">
                      <a16:creationId xmlns:a16="http://schemas.microsoft.com/office/drawing/2014/main" id="{DCB6F1B2-4162-443B-85D6-AAC8C6DFAF1B}"/>
                    </a:ext>
                  </a:extLst>
                </p:cNvPr>
                <p:cNvSpPr>
                  <a:spLocks noChangeArrowheads="1"/>
                </p:cNvSpPr>
                <p:nvPr/>
              </p:nvSpPr>
              <p:spPr bwMode="auto">
                <a:xfrm>
                  <a:off x="1592263" y="5993606"/>
                  <a:ext cx="5572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collaborat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8" name="Rectangle 89">
                  <a:extLst>
                    <a:ext uri="{FF2B5EF4-FFF2-40B4-BE49-F238E27FC236}">
                      <a16:creationId xmlns:a16="http://schemas.microsoft.com/office/drawing/2014/main" id="{85B1F41A-9CE2-4B70-8635-D88257D9AFB2}"/>
                    </a:ext>
                  </a:extLst>
                </p:cNvPr>
                <p:cNvSpPr>
                  <a:spLocks noChangeArrowheads="1"/>
                </p:cNvSpPr>
                <p:nvPr/>
              </p:nvSpPr>
              <p:spPr bwMode="auto">
                <a:xfrm>
                  <a:off x="1630363" y="6404769"/>
                  <a:ext cx="3667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launch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9" name="Rectangle 90">
                  <a:extLst>
                    <a:ext uri="{FF2B5EF4-FFF2-40B4-BE49-F238E27FC236}">
                      <a16:creationId xmlns:a16="http://schemas.microsoft.com/office/drawing/2014/main" id="{7C591013-072B-4C99-A2BC-A99D76744F29}"/>
                    </a:ext>
                  </a:extLst>
                </p:cNvPr>
                <p:cNvSpPr>
                  <a:spLocks noChangeArrowheads="1"/>
                </p:cNvSpPr>
                <p:nvPr/>
              </p:nvSpPr>
              <p:spPr bwMode="auto">
                <a:xfrm>
                  <a:off x="1630363" y="6527006"/>
                  <a:ext cx="3571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c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0" name="Freeform 92">
                  <a:extLst>
                    <a:ext uri="{FF2B5EF4-FFF2-40B4-BE49-F238E27FC236}">
                      <a16:creationId xmlns:a16="http://schemas.microsoft.com/office/drawing/2014/main" id="{860ABBD3-4A9F-4D72-96DD-2C282CD75E29}"/>
                    </a:ext>
                  </a:extLst>
                </p:cNvPr>
                <p:cNvSpPr>
                  <a:spLocks/>
                </p:cNvSpPr>
                <p:nvPr/>
              </p:nvSpPr>
              <p:spPr bwMode="auto">
                <a:xfrm>
                  <a:off x="2154238" y="6085681"/>
                  <a:ext cx="82550" cy="84138"/>
                </a:xfrm>
                <a:custGeom>
                  <a:avLst/>
                  <a:gdLst>
                    <a:gd name="T0" fmla="*/ 279 w 279"/>
                    <a:gd name="T1" fmla="*/ 140 h 280"/>
                    <a:gd name="T2" fmla="*/ 0 w 279"/>
                    <a:gd name="T3" fmla="*/ 280 h 280"/>
                    <a:gd name="T4" fmla="*/ 0 w 279"/>
                    <a:gd name="T5" fmla="*/ 0 h 280"/>
                    <a:gd name="T6" fmla="*/ 279 w 279"/>
                    <a:gd name="T7" fmla="*/ 140 h 280"/>
                  </a:gdLst>
                  <a:ahLst/>
                  <a:cxnLst>
                    <a:cxn ang="0">
                      <a:pos x="T0" y="T1"/>
                    </a:cxn>
                    <a:cxn ang="0">
                      <a:pos x="T2" y="T3"/>
                    </a:cxn>
                    <a:cxn ang="0">
                      <a:pos x="T4" y="T5"/>
                    </a:cxn>
                    <a:cxn ang="0">
                      <a:pos x="T6" y="T7"/>
                    </a:cxn>
                  </a:cxnLst>
                  <a:rect l="0" t="0" r="r" b="b"/>
                  <a:pathLst>
                    <a:path w="279" h="280">
                      <a:moveTo>
                        <a:pt x="279" y="140"/>
                      </a:moveTo>
                      <a:lnTo>
                        <a:pt x="0" y="280"/>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94">
                  <a:extLst>
                    <a:ext uri="{FF2B5EF4-FFF2-40B4-BE49-F238E27FC236}">
                      <a16:creationId xmlns:a16="http://schemas.microsoft.com/office/drawing/2014/main" id="{4A68BB00-9CFB-44FB-9475-3FF44B5C3322}"/>
                    </a:ext>
                  </a:extLst>
                </p:cNvPr>
                <p:cNvSpPr>
                  <a:spLocks/>
                </p:cNvSpPr>
                <p:nvPr/>
              </p:nvSpPr>
              <p:spPr bwMode="auto">
                <a:xfrm>
                  <a:off x="2154238" y="6504781"/>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95">
                  <a:extLst>
                    <a:ext uri="{FF2B5EF4-FFF2-40B4-BE49-F238E27FC236}">
                      <a16:creationId xmlns:a16="http://schemas.microsoft.com/office/drawing/2014/main" id="{DA2CB905-B18B-43F6-9B73-15193CD15D1B}"/>
                    </a:ext>
                  </a:extLst>
                </p:cNvPr>
                <p:cNvSpPr>
                  <a:spLocks/>
                </p:cNvSpPr>
                <p:nvPr/>
              </p:nvSpPr>
              <p:spPr bwMode="auto">
                <a:xfrm>
                  <a:off x="1789113" y="5380831"/>
                  <a:ext cx="962025" cy="361950"/>
                </a:xfrm>
                <a:custGeom>
                  <a:avLst/>
                  <a:gdLst>
                    <a:gd name="T0" fmla="*/ 323 w 3232"/>
                    <a:gd name="T1" fmla="*/ 1216 h 1216"/>
                    <a:gd name="T2" fmla="*/ 2908 w 3232"/>
                    <a:gd name="T3" fmla="*/ 1216 h 1216"/>
                    <a:gd name="T4" fmla="*/ 3232 w 3232"/>
                    <a:gd name="T5" fmla="*/ 892 h 1216"/>
                    <a:gd name="T6" fmla="*/ 3232 w 3232"/>
                    <a:gd name="T7" fmla="*/ 323 h 1216"/>
                    <a:gd name="T8" fmla="*/ 2908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2"/>
                      </a:cubicBezTo>
                      <a:lnTo>
                        <a:pt x="3232" y="323"/>
                      </a:lnTo>
                      <a:cubicBezTo>
                        <a:pt x="3232" y="144"/>
                        <a:pt x="3087" y="0"/>
                        <a:pt x="2908" y="0"/>
                      </a:cubicBezTo>
                      <a:lnTo>
                        <a:pt x="323" y="0"/>
                      </a:lnTo>
                      <a:cubicBezTo>
                        <a:pt x="144" y="0"/>
                        <a:pt x="0" y="144"/>
                        <a:pt x="0" y="323"/>
                      </a:cubicBezTo>
                      <a:lnTo>
                        <a:pt x="0" y="892"/>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96">
                  <a:extLst>
                    <a:ext uri="{FF2B5EF4-FFF2-40B4-BE49-F238E27FC236}">
                      <a16:creationId xmlns:a16="http://schemas.microsoft.com/office/drawing/2014/main" id="{50A6F5A8-8003-48CE-9C8D-AF747FC16795}"/>
                    </a:ext>
                  </a:extLst>
                </p:cNvPr>
                <p:cNvSpPr>
                  <a:spLocks/>
                </p:cNvSpPr>
                <p:nvPr/>
              </p:nvSpPr>
              <p:spPr bwMode="auto">
                <a:xfrm>
                  <a:off x="1789113" y="5380831"/>
                  <a:ext cx="962025" cy="361950"/>
                </a:xfrm>
                <a:custGeom>
                  <a:avLst/>
                  <a:gdLst>
                    <a:gd name="T0" fmla="*/ 323 w 3232"/>
                    <a:gd name="T1" fmla="*/ 1216 h 1216"/>
                    <a:gd name="T2" fmla="*/ 2908 w 3232"/>
                    <a:gd name="T3" fmla="*/ 1216 h 1216"/>
                    <a:gd name="T4" fmla="*/ 3232 w 3232"/>
                    <a:gd name="T5" fmla="*/ 892 h 1216"/>
                    <a:gd name="T6" fmla="*/ 3232 w 3232"/>
                    <a:gd name="T7" fmla="*/ 323 h 1216"/>
                    <a:gd name="T8" fmla="*/ 2908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2"/>
                      </a:cubicBezTo>
                      <a:lnTo>
                        <a:pt x="3232" y="323"/>
                      </a:lnTo>
                      <a:cubicBezTo>
                        <a:pt x="3232" y="144"/>
                        <a:pt x="3087" y="0"/>
                        <a:pt x="2908" y="0"/>
                      </a:cubicBezTo>
                      <a:lnTo>
                        <a:pt x="323" y="0"/>
                      </a:lnTo>
                      <a:cubicBezTo>
                        <a:pt x="144" y="0"/>
                        <a:pt x="0" y="144"/>
                        <a:pt x="0" y="323"/>
                      </a:cubicBezTo>
                      <a:lnTo>
                        <a:pt x="0" y="892"/>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7">
                  <a:extLst>
                    <a:ext uri="{FF2B5EF4-FFF2-40B4-BE49-F238E27FC236}">
                      <a16:creationId xmlns:a16="http://schemas.microsoft.com/office/drawing/2014/main" id="{1EFD51EA-4116-4E39-92F4-53B92D95F6F8}"/>
                    </a:ext>
                  </a:extLst>
                </p:cNvPr>
                <p:cNvSpPr>
                  <a:spLocks noChangeArrowheads="1"/>
                </p:cNvSpPr>
                <p:nvPr/>
              </p:nvSpPr>
              <p:spPr bwMode="auto">
                <a:xfrm>
                  <a:off x="2051051" y="5479256"/>
                  <a:ext cx="5524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rogr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5" name="Rectangle 98">
                  <a:extLst>
                    <a:ext uri="{FF2B5EF4-FFF2-40B4-BE49-F238E27FC236}">
                      <a16:creationId xmlns:a16="http://schemas.microsoft.com/office/drawing/2014/main" id="{E4627FA5-6C22-4767-9E4A-5662AFD3D4B1}"/>
                    </a:ext>
                  </a:extLst>
                </p:cNvPr>
                <p:cNvSpPr>
                  <a:spLocks noChangeArrowheads="1"/>
                </p:cNvSpPr>
                <p:nvPr/>
              </p:nvSpPr>
              <p:spPr bwMode="auto">
                <a:xfrm>
                  <a:off x="2854326" y="5225256"/>
                  <a:ext cx="6572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Data estim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Rectangle 99">
                  <a:extLst>
                    <a:ext uri="{FF2B5EF4-FFF2-40B4-BE49-F238E27FC236}">
                      <a16:creationId xmlns:a16="http://schemas.microsoft.com/office/drawing/2014/main" id="{74AF5225-C7BD-4EF5-BB9D-B526F651BF43}"/>
                    </a:ext>
                  </a:extLst>
                </p:cNvPr>
                <p:cNvSpPr>
                  <a:spLocks noChangeArrowheads="1"/>
                </p:cNvSpPr>
                <p:nvPr/>
              </p:nvSpPr>
              <p:spPr bwMode="auto">
                <a:xfrm>
                  <a:off x="2854326" y="5347494"/>
                  <a:ext cx="6286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trieve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7" name="Rectangle 100">
                  <a:extLst>
                    <a:ext uri="{FF2B5EF4-FFF2-40B4-BE49-F238E27FC236}">
                      <a16:creationId xmlns:a16="http://schemas.microsoft.com/office/drawing/2014/main" id="{878242D7-90F2-4F7C-A496-AC3C74522665}"/>
                    </a:ext>
                  </a:extLst>
                </p:cNvPr>
                <p:cNvSpPr>
                  <a:spLocks noChangeArrowheads="1"/>
                </p:cNvSpPr>
                <p:nvPr/>
              </p:nvSpPr>
              <p:spPr bwMode="auto">
                <a:xfrm>
                  <a:off x="2854326" y="5469731"/>
                  <a:ext cx="6096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Review data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8" name="Rectangle 101">
                  <a:extLst>
                    <a:ext uri="{FF2B5EF4-FFF2-40B4-BE49-F238E27FC236}">
                      <a16:creationId xmlns:a16="http://schemas.microsoft.com/office/drawing/2014/main" id="{6F7DC352-755D-4166-9D4A-D17F893DFA77}"/>
                    </a:ext>
                  </a:extLst>
                </p:cNvPr>
                <p:cNvSpPr>
                  <a:spLocks noChangeArrowheads="1"/>
                </p:cNvSpPr>
                <p:nvPr/>
              </p:nvSpPr>
              <p:spPr bwMode="auto">
                <a:xfrm>
                  <a:off x="2854326" y="5591969"/>
                  <a:ext cx="795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Generate repor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9" name="Rectangle 102">
                  <a:extLst>
                    <a:ext uri="{FF2B5EF4-FFF2-40B4-BE49-F238E27FC236}">
                      <a16:creationId xmlns:a16="http://schemas.microsoft.com/office/drawing/2014/main" id="{EF193BD9-016D-4515-94BF-275381B75B17}"/>
                    </a:ext>
                  </a:extLst>
                </p:cNvPr>
                <p:cNvSpPr>
                  <a:spLocks noChangeArrowheads="1"/>
                </p:cNvSpPr>
                <p:nvPr/>
              </p:nvSpPr>
              <p:spPr bwMode="auto">
                <a:xfrm>
                  <a:off x="2854326" y="5714206"/>
                  <a:ext cx="8191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lose the requ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0" name="Freeform 104">
                  <a:extLst>
                    <a:ext uri="{FF2B5EF4-FFF2-40B4-BE49-F238E27FC236}">
                      <a16:creationId xmlns:a16="http://schemas.microsoft.com/office/drawing/2014/main" id="{40D5F90C-D71E-415B-AF98-D440F49E1501}"/>
                    </a:ext>
                  </a:extLst>
                </p:cNvPr>
                <p:cNvSpPr>
                  <a:spLocks/>
                </p:cNvSpPr>
                <p:nvPr/>
              </p:nvSpPr>
              <p:spPr bwMode="auto">
                <a:xfrm>
                  <a:off x="1706563" y="5520531"/>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3" y="191"/>
                        <a:pt x="43"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16">
                  <a:extLst>
                    <a:ext uri="{FF2B5EF4-FFF2-40B4-BE49-F238E27FC236}">
                      <a16:creationId xmlns:a16="http://schemas.microsoft.com/office/drawing/2014/main" id="{CB1F3239-6632-4C3B-9E9F-CBA116FB5BD4}"/>
                    </a:ext>
                  </a:extLst>
                </p:cNvPr>
                <p:cNvSpPr>
                  <a:spLocks/>
                </p:cNvSpPr>
                <p:nvPr/>
              </p:nvSpPr>
              <p:spPr bwMode="auto">
                <a:xfrm>
                  <a:off x="1789113" y="4839494"/>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17">
                  <a:extLst>
                    <a:ext uri="{FF2B5EF4-FFF2-40B4-BE49-F238E27FC236}">
                      <a16:creationId xmlns:a16="http://schemas.microsoft.com/office/drawing/2014/main" id="{51F25F5F-5D0E-4700-A4A1-8755671654B8}"/>
                    </a:ext>
                  </a:extLst>
                </p:cNvPr>
                <p:cNvSpPr>
                  <a:spLocks/>
                </p:cNvSpPr>
                <p:nvPr/>
              </p:nvSpPr>
              <p:spPr bwMode="auto">
                <a:xfrm>
                  <a:off x="1789113" y="4839494"/>
                  <a:ext cx="962025"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18">
                  <a:extLst>
                    <a:ext uri="{FF2B5EF4-FFF2-40B4-BE49-F238E27FC236}">
                      <a16:creationId xmlns:a16="http://schemas.microsoft.com/office/drawing/2014/main" id="{623961C8-5EE2-4FB7-BCD6-0E44EF593F5C}"/>
                    </a:ext>
                  </a:extLst>
                </p:cNvPr>
                <p:cNvSpPr>
                  <a:spLocks noChangeArrowheads="1"/>
                </p:cNvSpPr>
                <p:nvPr/>
              </p:nvSpPr>
              <p:spPr bwMode="auto">
                <a:xfrm>
                  <a:off x="1924051" y="4937919"/>
                  <a:ext cx="8286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llaborato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4" name="Freeform 120">
                  <a:extLst>
                    <a:ext uri="{FF2B5EF4-FFF2-40B4-BE49-F238E27FC236}">
                      <a16:creationId xmlns:a16="http://schemas.microsoft.com/office/drawing/2014/main" id="{FD56C9A1-249C-47D0-A95E-F7492CFA6474}"/>
                    </a:ext>
                  </a:extLst>
                </p:cNvPr>
                <p:cNvSpPr>
                  <a:spLocks/>
                </p:cNvSpPr>
                <p:nvPr/>
              </p:nvSpPr>
              <p:spPr bwMode="auto">
                <a:xfrm>
                  <a:off x="1706563" y="4979194"/>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3" y="192"/>
                        <a:pt x="43"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49">
                  <a:extLst>
                    <a:ext uri="{FF2B5EF4-FFF2-40B4-BE49-F238E27FC236}">
                      <a16:creationId xmlns:a16="http://schemas.microsoft.com/office/drawing/2014/main" id="{4F041BD9-9DC1-4D08-BC10-446D08C3658E}"/>
                    </a:ext>
                  </a:extLst>
                </p:cNvPr>
                <p:cNvSpPr>
                  <a:spLocks/>
                </p:cNvSpPr>
                <p:nvPr/>
              </p:nvSpPr>
              <p:spPr bwMode="auto">
                <a:xfrm>
                  <a:off x="3238501" y="6091238"/>
                  <a:ext cx="79375" cy="125413"/>
                </a:xfrm>
                <a:custGeom>
                  <a:avLst/>
                  <a:gdLst>
                    <a:gd name="T0" fmla="*/ 228 w 268"/>
                    <a:gd name="T1" fmla="*/ 0 h 418"/>
                    <a:gd name="T2" fmla="*/ 49 w 268"/>
                    <a:gd name="T3" fmla="*/ 0 h 418"/>
                    <a:gd name="T4" fmla="*/ 0 w 268"/>
                    <a:gd name="T5" fmla="*/ 45 h 418"/>
                    <a:gd name="T6" fmla="*/ 0 w 268"/>
                    <a:gd name="T7" fmla="*/ 268 h 418"/>
                    <a:gd name="T8" fmla="*/ 134 w 268"/>
                    <a:gd name="T9" fmla="*/ 418 h 418"/>
                    <a:gd name="T10" fmla="*/ 268 w 268"/>
                    <a:gd name="T11" fmla="*/ 268 h 418"/>
                    <a:gd name="T12" fmla="*/ 268 w 268"/>
                    <a:gd name="T13" fmla="*/ 45 h 418"/>
                    <a:gd name="T14" fmla="*/ 228 w 268"/>
                    <a:gd name="T15" fmla="*/ 0 h 4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418">
                      <a:moveTo>
                        <a:pt x="228" y="0"/>
                      </a:moveTo>
                      <a:lnTo>
                        <a:pt x="49" y="0"/>
                      </a:lnTo>
                      <a:lnTo>
                        <a:pt x="0" y="45"/>
                      </a:lnTo>
                      <a:lnTo>
                        <a:pt x="0" y="268"/>
                      </a:lnTo>
                      <a:cubicBezTo>
                        <a:pt x="0" y="351"/>
                        <a:pt x="60" y="418"/>
                        <a:pt x="134" y="418"/>
                      </a:cubicBezTo>
                      <a:cubicBezTo>
                        <a:pt x="208" y="417"/>
                        <a:pt x="268" y="350"/>
                        <a:pt x="268" y="268"/>
                      </a:cubicBezTo>
                      <a:lnTo>
                        <a:pt x="268" y="45"/>
                      </a:lnTo>
                      <a:cubicBezTo>
                        <a:pt x="268" y="20"/>
                        <a:pt x="250" y="0"/>
                        <a:pt x="228" y="0"/>
                      </a:cubicBezTo>
                      <a:close/>
                    </a:path>
                  </a:pathLst>
                </a:cu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Oval 250">
                  <a:extLst>
                    <a:ext uri="{FF2B5EF4-FFF2-40B4-BE49-F238E27FC236}">
                      <a16:creationId xmlns:a16="http://schemas.microsoft.com/office/drawing/2014/main" id="{F02FDE8D-B3B7-4C75-8D4B-2A5E6537B89A}"/>
                    </a:ext>
                  </a:extLst>
                </p:cNvPr>
                <p:cNvSpPr>
                  <a:spLocks noChangeArrowheads="1"/>
                </p:cNvSpPr>
                <p:nvPr/>
              </p:nvSpPr>
              <p:spPr bwMode="auto">
                <a:xfrm>
                  <a:off x="3267076" y="6019800"/>
                  <a:ext cx="50800" cy="57150"/>
                </a:xfrm>
                <a:prstGeom prst="ellipse">
                  <a:avLst/>
                </a:prstGeom>
                <a:solidFill>
                  <a:srgbClr val="5059C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251">
                  <a:extLst>
                    <a:ext uri="{FF2B5EF4-FFF2-40B4-BE49-F238E27FC236}">
                      <a16:creationId xmlns:a16="http://schemas.microsoft.com/office/drawing/2014/main" id="{EE35581C-4BD6-44E8-B2AA-480AD512B6E1}"/>
                    </a:ext>
                  </a:extLst>
                </p:cNvPr>
                <p:cNvSpPr>
                  <a:spLocks/>
                </p:cNvSpPr>
                <p:nvPr/>
              </p:nvSpPr>
              <p:spPr bwMode="auto">
                <a:xfrm>
                  <a:off x="3152776" y="6091238"/>
                  <a:ext cx="114300" cy="157163"/>
                </a:xfrm>
                <a:custGeom>
                  <a:avLst/>
                  <a:gdLst>
                    <a:gd name="T0" fmla="*/ 39 w 386"/>
                    <a:gd name="T1" fmla="*/ 0 h 527"/>
                    <a:gd name="T2" fmla="*/ 348 w 386"/>
                    <a:gd name="T3" fmla="*/ 0 h 527"/>
                    <a:gd name="T4" fmla="*/ 386 w 386"/>
                    <a:gd name="T5" fmla="*/ 43 h 527"/>
                    <a:gd name="T6" fmla="*/ 386 w 386"/>
                    <a:gd name="T7" fmla="*/ 316 h 527"/>
                    <a:gd name="T8" fmla="*/ 197 w 386"/>
                    <a:gd name="T9" fmla="*/ 527 h 527"/>
                    <a:gd name="T10" fmla="*/ 190 w 386"/>
                    <a:gd name="T11" fmla="*/ 527 h 527"/>
                    <a:gd name="T12" fmla="*/ 0 w 386"/>
                    <a:gd name="T13" fmla="*/ 316 h 527"/>
                    <a:gd name="T14" fmla="*/ 0 w 386"/>
                    <a:gd name="T15" fmla="*/ 43 h 527"/>
                    <a:gd name="T16" fmla="*/ 39 w 386"/>
                    <a:gd name="T1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527">
                      <a:moveTo>
                        <a:pt x="39" y="0"/>
                      </a:moveTo>
                      <a:lnTo>
                        <a:pt x="348" y="0"/>
                      </a:lnTo>
                      <a:cubicBezTo>
                        <a:pt x="369" y="0"/>
                        <a:pt x="386" y="19"/>
                        <a:pt x="386" y="43"/>
                      </a:cubicBezTo>
                      <a:lnTo>
                        <a:pt x="386" y="316"/>
                      </a:lnTo>
                      <a:cubicBezTo>
                        <a:pt x="386" y="432"/>
                        <a:pt x="302" y="527"/>
                        <a:pt x="197" y="527"/>
                      </a:cubicBezTo>
                      <a:lnTo>
                        <a:pt x="190" y="527"/>
                      </a:lnTo>
                      <a:cubicBezTo>
                        <a:pt x="85" y="527"/>
                        <a:pt x="0" y="432"/>
                        <a:pt x="0" y="316"/>
                      </a:cubicBezTo>
                      <a:lnTo>
                        <a:pt x="0" y="43"/>
                      </a:lnTo>
                      <a:cubicBezTo>
                        <a:pt x="0" y="19"/>
                        <a:pt x="18" y="0"/>
                        <a:pt x="39" y="0"/>
                      </a:cubicBezTo>
                      <a:close/>
                    </a:path>
                  </a:pathLst>
                </a:cu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Oval 252">
                  <a:extLst>
                    <a:ext uri="{FF2B5EF4-FFF2-40B4-BE49-F238E27FC236}">
                      <a16:creationId xmlns:a16="http://schemas.microsoft.com/office/drawing/2014/main" id="{C2D0B78D-F0D9-4E15-A829-EDCB4AA7369C}"/>
                    </a:ext>
                  </a:extLst>
                </p:cNvPr>
                <p:cNvSpPr>
                  <a:spLocks noChangeArrowheads="1"/>
                </p:cNvSpPr>
                <p:nvPr/>
              </p:nvSpPr>
              <p:spPr bwMode="auto">
                <a:xfrm>
                  <a:off x="3179763" y="5992813"/>
                  <a:ext cx="74613" cy="82550"/>
                </a:xfrm>
                <a:prstGeom prst="ellipse">
                  <a:avLst/>
                </a:prstGeom>
                <a:solidFill>
                  <a:srgbClr val="7B83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Rectangle 253">
                  <a:extLst>
                    <a:ext uri="{FF2B5EF4-FFF2-40B4-BE49-F238E27FC236}">
                      <a16:creationId xmlns:a16="http://schemas.microsoft.com/office/drawing/2014/main" id="{7F13F3A9-8B97-4956-BD44-7DAE3C9210EF}"/>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54">
                  <a:extLst>
                    <a:ext uri="{FF2B5EF4-FFF2-40B4-BE49-F238E27FC236}">
                      <a16:creationId xmlns:a16="http://schemas.microsoft.com/office/drawing/2014/main" id="{A72AD75F-14FE-454E-BB2B-AAD9EDF0F2C5}"/>
                    </a:ext>
                  </a:extLst>
                </p:cNvPr>
                <p:cNvSpPr>
                  <a:spLocks noEditPoints="1"/>
                </p:cNvSpPr>
                <p:nvPr/>
              </p:nvSpPr>
              <p:spPr bwMode="auto">
                <a:xfrm>
                  <a:off x="3152776" y="6048375"/>
                  <a:ext cx="76200" cy="171450"/>
                </a:xfrm>
                <a:custGeom>
                  <a:avLst/>
                  <a:gdLst>
                    <a:gd name="T0" fmla="*/ 258 w 258"/>
                    <a:gd name="T1" fmla="*/ 48 h 575"/>
                    <a:gd name="T2" fmla="*/ 258 w 258"/>
                    <a:gd name="T3" fmla="*/ 81 h 575"/>
                    <a:gd name="T4" fmla="*/ 99 w 258"/>
                    <a:gd name="T5" fmla="*/ 2 h 575"/>
                    <a:gd name="T6" fmla="*/ 98 w 258"/>
                    <a:gd name="T7" fmla="*/ 0 h 575"/>
                    <a:gd name="T8" fmla="*/ 213 w 258"/>
                    <a:gd name="T9" fmla="*/ 0 h 575"/>
                    <a:gd name="T10" fmla="*/ 258 w 258"/>
                    <a:gd name="T11" fmla="*/ 48 h 575"/>
                    <a:gd name="T12" fmla="*/ 39 w 258"/>
                    <a:gd name="T13" fmla="*/ 144 h 575"/>
                    <a:gd name="T14" fmla="*/ 0 w 258"/>
                    <a:gd name="T15" fmla="*/ 187 h 575"/>
                    <a:gd name="T16" fmla="*/ 0 w 258"/>
                    <a:gd name="T17" fmla="*/ 460 h 575"/>
                    <a:gd name="T18" fmla="*/ 31 w 258"/>
                    <a:gd name="T19" fmla="*/ 575 h 575"/>
                    <a:gd name="T20" fmla="*/ 204 w 258"/>
                    <a:gd name="T21" fmla="*/ 575 h 575"/>
                    <a:gd name="T22" fmla="*/ 258 w 258"/>
                    <a:gd name="T23" fmla="*/ 519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8"/>
                      </a:moveTo>
                      <a:lnTo>
                        <a:pt x="258" y="81"/>
                      </a:lnTo>
                      <a:cubicBezTo>
                        <a:pt x="195" y="108"/>
                        <a:pt x="123" y="73"/>
                        <a:pt x="99" y="2"/>
                      </a:cubicBezTo>
                      <a:cubicBezTo>
                        <a:pt x="99" y="2"/>
                        <a:pt x="98" y="1"/>
                        <a:pt x="98" y="0"/>
                      </a:cubicBezTo>
                      <a:lnTo>
                        <a:pt x="213" y="0"/>
                      </a:lnTo>
                      <a:cubicBezTo>
                        <a:pt x="237" y="0"/>
                        <a:pt x="257" y="21"/>
                        <a:pt x="258" y="48"/>
                      </a:cubicBezTo>
                      <a:close/>
                      <a:moveTo>
                        <a:pt x="39" y="144"/>
                      </a:moveTo>
                      <a:cubicBezTo>
                        <a:pt x="18" y="144"/>
                        <a:pt x="0" y="163"/>
                        <a:pt x="0" y="187"/>
                      </a:cubicBezTo>
                      <a:lnTo>
                        <a:pt x="0" y="460"/>
                      </a:lnTo>
                      <a:cubicBezTo>
                        <a:pt x="1" y="501"/>
                        <a:pt x="11" y="541"/>
                        <a:pt x="31" y="575"/>
                      </a:cubicBezTo>
                      <a:lnTo>
                        <a:pt x="204" y="575"/>
                      </a:lnTo>
                      <a:cubicBezTo>
                        <a:pt x="232" y="574"/>
                        <a:pt x="255" y="550"/>
                        <a:pt x="258" y="519"/>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Rectangle 255">
                  <a:extLst>
                    <a:ext uri="{FF2B5EF4-FFF2-40B4-BE49-F238E27FC236}">
                      <a16:creationId xmlns:a16="http://schemas.microsoft.com/office/drawing/2014/main" id="{8A3A09BB-552A-4B61-AA37-7F571B411B6E}"/>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256">
                  <a:extLst>
                    <a:ext uri="{FF2B5EF4-FFF2-40B4-BE49-F238E27FC236}">
                      <a16:creationId xmlns:a16="http://schemas.microsoft.com/office/drawing/2014/main" id="{1E489485-9ECD-4460-9E90-F9B329F79D29}"/>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57">
                  <a:extLst>
                    <a:ext uri="{FF2B5EF4-FFF2-40B4-BE49-F238E27FC236}">
                      <a16:creationId xmlns:a16="http://schemas.microsoft.com/office/drawing/2014/main" id="{8CE65C83-04C2-427E-8228-AF9D80AC28A4}"/>
                    </a:ext>
                  </a:extLst>
                </p:cNvPr>
                <p:cNvSpPr>
                  <a:spLocks noEditPoints="1"/>
                </p:cNvSpPr>
                <p:nvPr/>
              </p:nvSpPr>
              <p:spPr bwMode="auto">
                <a:xfrm>
                  <a:off x="3152776" y="6048375"/>
                  <a:ext cx="76200" cy="171450"/>
                </a:xfrm>
                <a:custGeom>
                  <a:avLst/>
                  <a:gdLst>
                    <a:gd name="T0" fmla="*/ 258 w 258"/>
                    <a:gd name="T1" fmla="*/ 48 h 575"/>
                    <a:gd name="T2" fmla="*/ 258 w 258"/>
                    <a:gd name="T3" fmla="*/ 81 h 575"/>
                    <a:gd name="T4" fmla="*/ 99 w 258"/>
                    <a:gd name="T5" fmla="*/ 2 h 575"/>
                    <a:gd name="T6" fmla="*/ 98 w 258"/>
                    <a:gd name="T7" fmla="*/ 0 h 575"/>
                    <a:gd name="T8" fmla="*/ 213 w 258"/>
                    <a:gd name="T9" fmla="*/ 0 h 575"/>
                    <a:gd name="T10" fmla="*/ 258 w 258"/>
                    <a:gd name="T11" fmla="*/ 48 h 575"/>
                    <a:gd name="T12" fmla="*/ 39 w 258"/>
                    <a:gd name="T13" fmla="*/ 144 h 575"/>
                    <a:gd name="T14" fmla="*/ 0 w 258"/>
                    <a:gd name="T15" fmla="*/ 187 h 575"/>
                    <a:gd name="T16" fmla="*/ 0 w 258"/>
                    <a:gd name="T17" fmla="*/ 460 h 575"/>
                    <a:gd name="T18" fmla="*/ 31 w 258"/>
                    <a:gd name="T19" fmla="*/ 575 h 575"/>
                    <a:gd name="T20" fmla="*/ 204 w 258"/>
                    <a:gd name="T21" fmla="*/ 575 h 575"/>
                    <a:gd name="T22" fmla="*/ 258 w 258"/>
                    <a:gd name="T23" fmla="*/ 519 h 575"/>
                    <a:gd name="T24" fmla="*/ 258 w 258"/>
                    <a:gd name="T25" fmla="*/ 144 h 575"/>
                    <a:gd name="T26" fmla="*/ 39 w 258"/>
                    <a:gd name="T27" fmla="*/ 144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575">
                      <a:moveTo>
                        <a:pt x="258" y="48"/>
                      </a:moveTo>
                      <a:lnTo>
                        <a:pt x="258" y="81"/>
                      </a:lnTo>
                      <a:cubicBezTo>
                        <a:pt x="195" y="108"/>
                        <a:pt x="123" y="73"/>
                        <a:pt x="99" y="2"/>
                      </a:cubicBezTo>
                      <a:cubicBezTo>
                        <a:pt x="99" y="2"/>
                        <a:pt x="98" y="1"/>
                        <a:pt x="98" y="0"/>
                      </a:cubicBezTo>
                      <a:lnTo>
                        <a:pt x="213" y="0"/>
                      </a:lnTo>
                      <a:cubicBezTo>
                        <a:pt x="237" y="0"/>
                        <a:pt x="257" y="21"/>
                        <a:pt x="258" y="48"/>
                      </a:cubicBezTo>
                      <a:close/>
                      <a:moveTo>
                        <a:pt x="39" y="144"/>
                      </a:moveTo>
                      <a:cubicBezTo>
                        <a:pt x="18" y="144"/>
                        <a:pt x="0" y="163"/>
                        <a:pt x="0" y="187"/>
                      </a:cubicBezTo>
                      <a:lnTo>
                        <a:pt x="0" y="460"/>
                      </a:lnTo>
                      <a:cubicBezTo>
                        <a:pt x="1" y="501"/>
                        <a:pt x="11" y="541"/>
                        <a:pt x="31" y="575"/>
                      </a:cubicBezTo>
                      <a:lnTo>
                        <a:pt x="204" y="575"/>
                      </a:lnTo>
                      <a:cubicBezTo>
                        <a:pt x="232" y="574"/>
                        <a:pt x="255" y="550"/>
                        <a:pt x="258" y="519"/>
                      </a:cubicBezTo>
                      <a:lnTo>
                        <a:pt x="258" y="144"/>
                      </a:lnTo>
                      <a:lnTo>
                        <a:pt x="39" y="14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Rectangle 258">
                  <a:extLst>
                    <a:ext uri="{FF2B5EF4-FFF2-40B4-BE49-F238E27FC236}">
                      <a16:creationId xmlns:a16="http://schemas.microsoft.com/office/drawing/2014/main" id="{2E17A5E5-1ACC-4727-B10B-4496E8F25ADD}"/>
                    </a:ext>
                  </a:extLst>
                </p:cNvPr>
                <p:cNvSpPr>
                  <a:spLocks noChangeArrowheads="1"/>
                </p:cNvSpPr>
                <p:nvPr/>
              </p:nvSpPr>
              <p:spPr bwMode="auto">
                <a:xfrm>
                  <a:off x="3149601" y="6045200"/>
                  <a:ext cx="85725" cy="176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59">
                  <a:extLst>
                    <a:ext uri="{FF2B5EF4-FFF2-40B4-BE49-F238E27FC236}">
                      <a16:creationId xmlns:a16="http://schemas.microsoft.com/office/drawing/2014/main" id="{4D9DFB1A-8364-47FC-B194-15553BAA7604}"/>
                    </a:ext>
                  </a:extLst>
                </p:cNvPr>
                <p:cNvSpPr>
                  <a:spLocks/>
                </p:cNvSpPr>
                <p:nvPr/>
              </p:nvSpPr>
              <p:spPr bwMode="auto">
                <a:xfrm>
                  <a:off x="3063876" y="6034088"/>
                  <a:ext cx="152400" cy="171450"/>
                </a:xfrm>
                <a:custGeom>
                  <a:avLst/>
                  <a:gdLst>
                    <a:gd name="T0" fmla="*/ 42 w 514"/>
                    <a:gd name="T1" fmla="*/ 0 h 575"/>
                    <a:gd name="T2" fmla="*/ 471 w 514"/>
                    <a:gd name="T3" fmla="*/ 0 h 575"/>
                    <a:gd name="T4" fmla="*/ 514 w 514"/>
                    <a:gd name="T5" fmla="*/ 48 h 575"/>
                    <a:gd name="T6" fmla="*/ 514 w 514"/>
                    <a:gd name="T7" fmla="*/ 527 h 575"/>
                    <a:gd name="T8" fmla="*/ 471 w 514"/>
                    <a:gd name="T9" fmla="*/ 575 h 575"/>
                    <a:gd name="T10" fmla="*/ 42 w 514"/>
                    <a:gd name="T11" fmla="*/ 575 h 575"/>
                    <a:gd name="T12" fmla="*/ 0 w 514"/>
                    <a:gd name="T13" fmla="*/ 527 h 575"/>
                    <a:gd name="T14" fmla="*/ 0 w 514"/>
                    <a:gd name="T15" fmla="*/ 48 h 575"/>
                    <a:gd name="T16" fmla="*/ 42 w 514"/>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75">
                      <a:moveTo>
                        <a:pt x="42" y="0"/>
                      </a:moveTo>
                      <a:lnTo>
                        <a:pt x="471" y="0"/>
                      </a:lnTo>
                      <a:cubicBezTo>
                        <a:pt x="495" y="0"/>
                        <a:pt x="514" y="22"/>
                        <a:pt x="514" y="48"/>
                      </a:cubicBezTo>
                      <a:lnTo>
                        <a:pt x="514" y="527"/>
                      </a:lnTo>
                      <a:cubicBezTo>
                        <a:pt x="514" y="554"/>
                        <a:pt x="495" y="575"/>
                        <a:pt x="471" y="575"/>
                      </a:cubicBezTo>
                      <a:lnTo>
                        <a:pt x="42" y="575"/>
                      </a:lnTo>
                      <a:cubicBezTo>
                        <a:pt x="19" y="575"/>
                        <a:pt x="0" y="554"/>
                        <a:pt x="0" y="527"/>
                      </a:cubicBezTo>
                      <a:lnTo>
                        <a:pt x="0" y="48"/>
                      </a:lnTo>
                      <a:cubicBezTo>
                        <a:pt x="0" y="22"/>
                        <a:pt x="19" y="0"/>
                        <a:pt x="42" y="0"/>
                      </a:cubicBezTo>
                      <a:close/>
                    </a:path>
                  </a:pathLst>
                </a:custGeom>
                <a:solidFill>
                  <a:srgbClr val="4B53B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260">
                  <a:extLst>
                    <a:ext uri="{FF2B5EF4-FFF2-40B4-BE49-F238E27FC236}">
                      <a16:creationId xmlns:a16="http://schemas.microsoft.com/office/drawing/2014/main" id="{DF748615-8A4B-47D6-9EFE-86BB3DF249E7}"/>
                    </a:ext>
                  </a:extLst>
                </p:cNvPr>
                <p:cNvSpPr>
                  <a:spLocks/>
                </p:cNvSpPr>
                <p:nvPr/>
              </p:nvSpPr>
              <p:spPr bwMode="auto">
                <a:xfrm>
                  <a:off x="3097213" y="6069013"/>
                  <a:ext cx="73025" cy="103188"/>
                </a:xfrm>
                <a:custGeom>
                  <a:avLst/>
                  <a:gdLst>
                    <a:gd name="T0" fmla="*/ 46 w 46"/>
                    <a:gd name="T1" fmla="*/ 13 h 65"/>
                    <a:gd name="T2" fmla="*/ 29 w 46"/>
                    <a:gd name="T3" fmla="*/ 13 h 65"/>
                    <a:gd name="T4" fmla="*/ 29 w 46"/>
                    <a:gd name="T5" fmla="*/ 65 h 65"/>
                    <a:gd name="T6" fmla="*/ 17 w 46"/>
                    <a:gd name="T7" fmla="*/ 65 h 65"/>
                    <a:gd name="T8" fmla="*/ 17 w 46"/>
                    <a:gd name="T9" fmla="*/ 13 h 65"/>
                    <a:gd name="T10" fmla="*/ 0 w 46"/>
                    <a:gd name="T11" fmla="*/ 13 h 65"/>
                    <a:gd name="T12" fmla="*/ 0 w 46"/>
                    <a:gd name="T13" fmla="*/ 0 h 65"/>
                    <a:gd name="T14" fmla="*/ 46 w 46"/>
                    <a:gd name="T15" fmla="*/ 0 h 65"/>
                    <a:gd name="T16" fmla="*/ 46 w 46"/>
                    <a:gd name="T17"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13"/>
                      </a:moveTo>
                      <a:lnTo>
                        <a:pt x="29" y="13"/>
                      </a:lnTo>
                      <a:lnTo>
                        <a:pt x="29" y="65"/>
                      </a:lnTo>
                      <a:lnTo>
                        <a:pt x="17" y="65"/>
                      </a:lnTo>
                      <a:lnTo>
                        <a:pt x="17" y="13"/>
                      </a:lnTo>
                      <a:lnTo>
                        <a:pt x="0" y="13"/>
                      </a:lnTo>
                      <a:lnTo>
                        <a:pt x="0" y="0"/>
                      </a:lnTo>
                      <a:lnTo>
                        <a:pt x="46" y="0"/>
                      </a:lnTo>
                      <a:lnTo>
                        <a:pt x="4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40" name="Group 239">
            <a:extLst>
              <a:ext uri="{FF2B5EF4-FFF2-40B4-BE49-F238E27FC236}">
                <a16:creationId xmlns:a16="http://schemas.microsoft.com/office/drawing/2014/main" id="{5052B340-A0EA-49AA-AFA3-E69DC6CA5F7E}"/>
              </a:ext>
            </a:extLst>
          </p:cNvPr>
          <p:cNvGrpSpPr/>
          <p:nvPr/>
        </p:nvGrpSpPr>
        <p:grpSpPr>
          <a:xfrm>
            <a:off x="6931026" y="2035969"/>
            <a:ext cx="2933700" cy="3568700"/>
            <a:chOff x="6931026" y="2035969"/>
            <a:chExt cx="2933700" cy="3568700"/>
          </a:xfrm>
        </p:grpSpPr>
        <p:grpSp>
          <p:nvGrpSpPr>
            <p:cNvPr id="241" name="Group 240">
              <a:extLst>
                <a:ext uri="{FF2B5EF4-FFF2-40B4-BE49-F238E27FC236}">
                  <a16:creationId xmlns:a16="http://schemas.microsoft.com/office/drawing/2014/main" id="{0DB2D917-9EFC-4E5D-97EC-D0A55277B094}"/>
                </a:ext>
              </a:extLst>
            </p:cNvPr>
            <p:cNvGrpSpPr/>
            <p:nvPr/>
          </p:nvGrpSpPr>
          <p:grpSpPr>
            <a:xfrm>
              <a:off x="6931026" y="2035969"/>
              <a:ext cx="1247775" cy="523875"/>
              <a:chOff x="6931026" y="2035969"/>
              <a:chExt cx="1247775" cy="523875"/>
            </a:xfrm>
          </p:grpSpPr>
          <p:sp>
            <p:nvSpPr>
              <p:cNvPr id="298" name="Rectangle 29">
                <a:extLst>
                  <a:ext uri="{FF2B5EF4-FFF2-40B4-BE49-F238E27FC236}">
                    <a16:creationId xmlns:a16="http://schemas.microsoft.com/office/drawing/2014/main" id="{308820A5-9EC2-4E04-B3EF-301A67BF280E}"/>
                  </a:ext>
                </a:extLst>
              </p:cNvPr>
              <p:cNvSpPr>
                <a:spLocks noChangeArrowheads="1"/>
              </p:cNvSpPr>
              <p:nvPr/>
            </p:nvSpPr>
            <p:spPr bwMode="auto">
              <a:xfrm>
                <a:off x="6931026" y="2035969"/>
                <a:ext cx="8048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Teams Policy tip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9" name="Rectangle 30">
                <a:extLst>
                  <a:ext uri="{FF2B5EF4-FFF2-40B4-BE49-F238E27FC236}">
                    <a16:creationId xmlns:a16="http://schemas.microsoft.com/office/drawing/2014/main" id="{8EDDCDAF-DEE4-4A25-867A-7D189614D1F0}"/>
                  </a:ext>
                </a:extLst>
              </p:cNvPr>
              <p:cNvSpPr>
                <a:spLocks noChangeArrowheads="1"/>
              </p:cNvSpPr>
              <p:nvPr/>
            </p:nvSpPr>
            <p:spPr bwMode="auto">
              <a:xfrm>
                <a:off x="6931026" y="2158206"/>
                <a:ext cx="1247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Email Notifications to 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3" name="Rectangle 31">
                <a:extLst>
                  <a:ext uri="{FF2B5EF4-FFF2-40B4-BE49-F238E27FC236}">
                    <a16:creationId xmlns:a16="http://schemas.microsoft.com/office/drawing/2014/main" id="{5510B013-40FA-47C4-AAE7-05DEE3CC71A6}"/>
                  </a:ext>
                </a:extLst>
              </p:cNvPr>
              <p:cNvSpPr>
                <a:spLocks noChangeArrowheads="1"/>
              </p:cNvSpPr>
              <p:nvPr/>
            </p:nvSpPr>
            <p:spPr bwMode="auto">
              <a:xfrm>
                <a:off x="6931026" y="2280444"/>
                <a:ext cx="7953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lerts to admi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4" name="Rectangle 32">
                <a:extLst>
                  <a:ext uri="{FF2B5EF4-FFF2-40B4-BE49-F238E27FC236}">
                    <a16:creationId xmlns:a16="http://schemas.microsoft.com/office/drawing/2014/main" id="{D7713579-0374-417E-8998-0CE1BB6D1B1D}"/>
                  </a:ext>
                </a:extLst>
              </p:cNvPr>
              <p:cNvSpPr>
                <a:spLocks noChangeArrowheads="1"/>
              </p:cNvSpPr>
              <p:nvPr/>
            </p:nvSpPr>
            <p:spPr bwMode="auto">
              <a:xfrm>
                <a:off x="6931026" y="2402681"/>
                <a:ext cx="9667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Test mode (ON/OFF)</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242" name="Group 241">
              <a:extLst>
                <a:ext uri="{FF2B5EF4-FFF2-40B4-BE49-F238E27FC236}">
                  <a16:creationId xmlns:a16="http://schemas.microsoft.com/office/drawing/2014/main" id="{2B1FAD70-2E4A-4F53-9A47-606A99BC2622}"/>
                </a:ext>
              </a:extLst>
            </p:cNvPr>
            <p:cNvGrpSpPr/>
            <p:nvPr/>
          </p:nvGrpSpPr>
          <p:grpSpPr>
            <a:xfrm>
              <a:off x="8826501" y="3604418"/>
              <a:ext cx="1038225" cy="1435101"/>
              <a:chOff x="8826501" y="3604418"/>
              <a:chExt cx="1038225" cy="1435101"/>
            </a:xfrm>
          </p:grpSpPr>
          <p:sp>
            <p:nvSpPr>
              <p:cNvPr id="255" name="Rectangle 128">
                <a:extLst>
                  <a:ext uri="{FF2B5EF4-FFF2-40B4-BE49-F238E27FC236}">
                    <a16:creationId xmlns:a16="http://schemas.microsoft.com/office/drawing/2014/main" id="{322DE5B4-13BB-4750-A95A-63B18E7FE556}"/>
                  </a:ext>
                </a:extLst>
              </p:cNvPr>
              <p:cNvSpPr>
                <a:spLocks noChangeArrowheads="1"/>
              </p:cNvSpPr>
              <p:nvPr/>
            </p:nvSpPr>
            <p:spPr bwMode="auto">
              <a:xfrm>
                <a:off x="8826501" y="3604418"/>
                <a:ext cx="64293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Access Level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94" name="Rectangle 133">
                <a:extLst>
                  <a:ext uri="{FF2B5EF4-FFF2-40B4-BE49-F238E27FC236}">
                    <a16:creationId xmlns:a16="http://schemas.microsoft.com/office/drawing/2014/main" id="{A61C233E-2A41-4F5E-98D9-F30FBBAB4AAA}"/>
                  </a:ext>
                </a:extLst>
              </p:cNvPr>
              <p:cNvSpPr>
                <a:spLocks noChangeArrowheads="1"/>
              </p:cNvSpPr>
              <p:nvPr/>
            </p:nvSpPr>
            <p:spPr bwMode="auto">
              <a:xfrm>
                <a:off x="8826501" y="4760118"/>
                <a:ext cx="1019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Between departmen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134">
                <a:extLst>
                  <a:ext uri="{FF2B5EF4-FFF2-40B4-BE49-F238E27FC236}">
                    <a16:creationId xmlns:a16="http://schemas.microsoft.com/office/drawing/2014/main" id="{72E3D6D1-DA7C-4352-8544-63B2CCEB2729}"/>
                  </a:ext>
                </a:extLst>
              </p:cNvPr>
              <p:cNvSpPr>
                <a:spLocks noChangeArrowheads="1"/>
              </p:cNvSpPr>
              <p:nvPr/>
            </p:nvSpPr>
            <p:spPr bwMode="auto">
              <a:xfrm>
                <a:off x="8826501" y="4882356"/>
                <a:ext cx="723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Across regio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139">
                <a:extLst>
                  <a:ext uri="{FF2B5EF4-FFF2-40B4-BE49-F238E27FC236}">
                    <a16:creationId xmlns:a16="http://schemas.microsoft.com/office/drawing/2014/main" id="{04064BE1-EB7A-465E-AB4E-E5125FB3EA7C}"/>
                  </a:ext>
                </a:extLst>
              </p:cNvPr>
              <p:cNvSpPr>
                <a:spLocks noChangeArrowheads="1"/>
              </p:cNvSpPr>
              <p:nvPr/>
            </p:nvSpPr>
            <p:spPr bwMode="auto">
              <a:xfrm>
                <a:off x="8836026" y="4191793"/>
                <a:ext cx="10287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Last modification dat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243" name="Group 242">
              <a:extLst>
                <a:ext uri="{FF2B5EF4-FFF2-40B4-BE49-F238E27FC236}">
                  <a16:creationId xmlns:a16="http://schemas.microsoft.com/office/drawing/2014/main" id="{9A30394F-D3A6-479C-A428-4984A9B7CFA4}"/>
                </a:ext>
              </a:extLst>
            </p:cNvPr>
            <p:cNvGrpSpPr/>
            <p:nvPr/>
          </p:nvGrpSpPr>
          <p:grpSpPr>
            <a:xfrm>
              <a:off x="7712076" y="4826794"/>
              <a:ext cx="1166812" cy="777875"/>
              <a:chOff x="7712076" y="4826794"/>
              <a:chExt cx="1166812" cy="777875"/>
            </a:xfrm>
          </p:grpSpPr>
          <p:sp>
            <p:nvSpPr>
              <p:cNvPr id="249" name="Freeform 148">
                <a:extLst>
                  <a:ext uri="{FF2B5EF4-FFF2-40B4-BE49-F238E27FC236}">
                    <a16:creationId xmlns:a16="http://schemas.microsoft.com/office/drawing/2014/main" id="{EF569256-152F-4C01-9E97-6AC75309645C}"/>
                  </a:ext>
                </a:extLst>
              </p:cNvPr>
              <p:cNvSpPr>
                <a:spLocks/>
              </p:cNvSpPr>
              <p:nvPr/>
            </p:nvSpPr>
            <p:spPr bwMode="auto">
              <a:xfrm>
                <a:off x="7916863" y="52316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49">
                <a:extLst>
                  <a:ext uri="{FF2B5EF4-FFF2-40B4-BE49-F238E27FC236}">
                    <a16:creationId xmlns:a16="http://schemas.microsoft.com/office/drawing/2014/main" id="{CD64258B-7343-4245-968B-63B14408BE5C}"/>
                  </a:ext>
                </a:extLst>
              </p:cNvPr>
              <p:cNvSpPr>
                <a:spLocks/>
              </p:cNvSpPr>
              <p:nvPr/>
            </p:nvSpPr>
            <p:spPr bwMode="auto">
              <a:xfrm>
                <a:off x="7916863" y="5231606"/>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50">
                <a:extLst>
                  <a:ext uri="{FF2B5EF4-FFF2-40B4-BE49-F238E27FC236}">
                    <a16:creationId xmlns:a16="http://schemas.microsoft.com/office/drawing/2014/main" id="{8213AE15-4344-4034-B124-E1BEDFA7659B}"/>
                  </a:ext>
                </a:extLst>
              </p:cNvPr>
              <p:cNvSpPr>
                <a:spLocks noChangeArrowheads="1"/>
              </p:cNvSpPr>
              <p:nvPr/>
            </p:nvSpPr>
            <p:spPr bwMode="auto">
              <a:xfrm>
                <a:off x="8280401" y="5252244"/>
                <a:ext cx="361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Item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52" name="Rectangle 151">
                <a:extLst>
                  <a:ext uri="{FF2B5EF4-FFF2-40B4-BE49-F238E27FC236}">
                    <a16:creationId xmlns:a16="http://schemas.microsoft.com/office/drawing/2014/main" id="{F760A666-C51C-41D3-84DE-54FDCD843836}"/>
                  </a:ext>
                </a:extLst>
              </p:cNvPr>
              <p:cNvSpPr>
                <a:spLocks noChangeArrowheads="1"/>
              </p:cNvSpPr>
              <p:nvPr/>
            </p:nvSpPr>
            <p:spPr bwMode="auto">
              <a:xfrm>
                <a:off x="8193088" y="5403056"/>
                <a:ext cx="5238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3" name="Freeform 152">
                <a:extLst>
                  <a:ext uri="{FF2B5EF4-FFF2-40B4-BE49-F238E27FC236}">
                    <a16:creationId xmlns:a16="http://schemas.microsoft.com/office/drawing/2014/main" id="{206A5B7B-8A99-4B72-8DFF-04976126C2CC}"/>
                  </a:ext>
                </a:extLst>
              </p:cNvPr>
              <p:cNvSpPr>
                <a:spLocks/>
              </p:cNvSpPr>
              <p:nvPr/>
            </p:nvSpPr>
            <p:spPr bwMode="auto">
              <a:xfrm>
                <a:off x="7712076" y="4826794"/>
                <a:ext cx="142875" cy="585788"/>
              </a:xfrm>
              <a:custGeom>
                <a:avLst/>
                <a:gdLst>
                  <a:gd name="T0" fmla="*/ 0 w 90"/>
                  <a:gd name="T1" fmla="*/ 0 h 369"/>
                  <a:gd name="T2" fmla="*/ 0 w 90"/>
                  <a:gd name="T3" fmla="*/ 369 h 369"/>
                  <a:gd name="T4" fmla="*/ 90 w 90"/>
                  <a:gd name="T5" fmla="*/ 369 h 369"/>
                </a:gdLst>
                <a:ahLst/>
                <a:cxnLst>
                  <a:cxn ang="0">
                    <a:pos x="T0" y="T1"/>
                  </a:cxn>
                  <a:cxn ang="0">
                    <a:pos x="T2" y="T3"/>
                  </a:cxn>
                  <a:cxn ang="0">
                    <a:pos x="T4" y="T5"/>
                  </a:cxn>
                </a:cxnLst>
                <a:rect l="0" t="0" r="r" b="b"/>
                <a:pathLst>
                  <a:path w="90" h="369">
                    <a:moveTo>
                      <a:pt x="0" y="0"/>
                    </a:moveTo>
                    <a:lnTo>
                      <a:pt x="0" y="369"/>
                    </a:lnTo>
                    <a:lnTo>
                      <a:pt x="90" y="369"/>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Freeform 153">
                <a:extLst>
                  <a:ext uri="{FF2B5EF4-FFF2-40B4-BE49-F238E27FC236}">
                    <a16:creationId xmlns:a16="http://schemas.microsoft.com/office/drawing/2014/main" id="{52ACC4AE-688E-41B7-A2BB-932905C9F568}"/>
                  </a:ext>
                </a:extLst>
              </p:cNvPr>
              <p:cNvSpPr>
                <a:spLocks/>
              </p:cNvSpPr>
              <p:nvPr/>
            </p:nvSpPr>
            <p:spPr bwMode="auto">
              <a:xfrm>
                <a:off x="7834313" y="5371306"/>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4" name="Group 243">
              <a:extLst>
                <a:ext uri="{FF2B5EF4-FFF2-40B4-BE49-F238E27FC236}">
                  <a16:creationId xmlns:a16="http://schemas.microsoft.com/office/drawing/2014/main" id="{D56D1E05-C1EA-417F-BBF2-190010B3D737}"/>
                </a:ext>
              </a:extLst>
            </p:cNvPr>
            <p:cNvGrpSpPr/>
            <p:nvPr/>
          </p:nvGrpSpPr>
          <p:grpSpPr>
            <a:xfrm>
              <a:off x="8221663" y="2628900"/>
              <a:ext cx="1177925" cy="523876"/>
              <a:chOff x="8221663" y="2628900"/>
              <a:chExt cx="1177925" cy="523876"/>
            </a:xfrm>
          </p:grpSpPr>
          <p:sp>
            <p:nvSpPr>
              <p:cNvPr id="245" name="Rectangle 214">
                <a:extLst>
                  <a:ext uri="{FF2B5EF4-FFF2-40B4-BE49-F238E27FC236}">
                    <a16:creationId xmlns:a16="http://schemas.microsoft.com/office/drawing/2014/main" id="{1F6F67E6-0BA5-459F-B996-00BA1D1296DD}"/>
                  </a:ext>
                </a:extLst>
              </p:cNvPr>
              <p:cNvSpPr>
                <a:spLocks noChangeArrowheads="1"/>
              </p:cNvSpPr>
              <p:nvPr/>
            </p:nvSpPr>
            <p:spPr bwMode="auto">
              <a:xfrm>
                <a:off x="8221663" y="2628900"/>
                <a:ext cx="9286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Sensitive Info  typ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6" name="Rectangle 215">
                <a:extLst>
                  <a:ext uri="{FF2B5EF4-FFF2-40B4-BE49-F238E27FC236}">
                    <a16:creationId xmlns:a16="http://schemas.microsoft.com/office/drawing/2014/main" id="{2C89D731-7D8E-4DCF-A62B-6E87A5F1C60A}"/>
                  </a:ext>
                </a:extLst>
              </p:cNvPr>
              <p:cNvSpPr>
                <a:spLocks noChangeArrowheads="1"/>
              </p:cNvSpPr>
              <p:nvPr/>
            </p:nvSpPr>
            <p:spPr bwMode="auto">
              <a:xfrm>
                <a:off x="8221663" y="2751138"/>
                <a:ext cx="11779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Data classification group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47" name="Rectangle 216">
                <a:extLst>
                  <a:ext uri="{FF2B5EF4-FFF2-40B4-BE49-F238E27FC236}">
                    <a16:creationId xmlns:a16="http://schemas.microsoft.com/office/drawing/2014/main" id="{7312F4B0-DB06-4F94-B10C-41312A91F1E5}"/>
                  </a:ext>
                </a:extLst>
              </p:cNvPr>
              <p:cNvSpPr>
                <a:spLocks noChangeArrowheads="1"/>
              </p:cNvSpPr>
              <p:nvPr/>
            </p:nvSpPr>
            <p:spPr bwMode="auto">
              <a:xfrm>
                <a:off x="8221663" y="2873375"/>
                <a:ext cx="2952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Use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8" name="Rectangle 217">
                <a:extLst>
                  <a:ext uri="{FF2B5EF4-FFF2-40B4-BE49-F238E27FC236}">
                    <a16:creationId xmlns:a16="http://schemas.microsoft.com/office/drawing/2014/main" id="{58B6C9A6-7B7C-483F-B7CC-E98E69F20DF9}"/>
                  </a:ext>
                </a:extLst>
              </p:cNvPr>
              <p:cNvSpPr>
                <a:spLocks noChangeArrowheads="1"/>
              </p:cNvSpPr>
              <p:nvPr/>
            </p:nvSpPr>
            <p:spPr bwMode="auto">
              <a:xfrm>
                <a:off x="8221663" y="2995613"/>
                <a:ext cx="4714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grpSp>
        <p:nvGrpSpPr>
          <p:cNvPr id="305" name="Group 304">
            <a:extLst>
              <a:ext uri="{FF2B5EF4-FFF2-40B4-BE49-F238E27FC236}">
                <a16:creationId xmlns:a16="http://schemas.microsoft.com/office/drawing/2014/main" id="{030C73D1-4397-4688-A72C-EC3BCB41B0CE}"/>
              </a:ext>
            </a:extLst>
          </p:cNvPr>
          <p:cNvGrpSpPr/>
          <p:nvPr/>
        </p:nvGrpSpPr>
        <p:grpSpPr>
          <a:xfrm>
            <a:off x="10256359" y="2033425"/>
            <a:ext cx="1573213" cy="1609725"/>
            <a:chOff x="10256838" y="2022475"/>
            <a:chExt cx="1573213" cy="1609725"/>
          </a:xfrm>
        </p:grpSpPr>
        <p:sp>
          <p:nvSpPr>
            <p:cNvPr id="306" name="Rectangle 39">
              <a:extLst>
                <a:ext uri="{FF2B5EF4-FFF2-40B4-BE49-F238E27FC236}">
                  <a16:creationId xmlns:a16="http://schemas.microsoft.com/office/drawing/2014/main" id="{4D06D465-1924-49F6-AA62-E938F4958AF5}"/>
                </a:ext>
              </a:extLst>
            </p:cNvPr>
            <p:cNvSpPr>
              <a:spLocks noChangeArrowheads="1"/>
            </p:cNvSpPr>
            <p:nvPr/>
          </p:nvSpPr>
          <p:spPr bwMode="auto">
            <a:xfrm>
              <a:off x="10715626" y="2412206"/>
              <a:ext cx="11144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Case Investig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2" name="Freeform 44">
              <a:extLst>
                <a:ext uri="{FF2B5EF4-FFF2-40B4-BE49-F238E27FC236}">
                  <a16:creationId xmlns:a16="http://schemas.microsoft.com/office/drawing/2014/main" id="{0134BAF7-5EB2-42AB-93A8-0C93EDB250CB}"/>
                </a:ext>
              </a:extLst>
            </p:cNvPr>
            <p:cNvSpPr>
              <a:spLocks/>
            </p:cNvSpPr>
            <p:nvPr/>
          </p:nvSpPr>
          <p:spPr bwMode="auto">
            <a:xfrm>
              <a:off x="10475913" y="2364581"/>
              <a:ext cx="114300" cy="114300"/>
            </a:xfrm>
            <a:custGeom>
              <a:avLst/>
              <a:gdLst>
                <a:gd name="T0" fmla="*/ 97 w 192"/>
                <a:gd name="T1" fmla="*/ 193 h 193"/>
                <a:gd name="T2" fmla="*/ 192 w 192"/>
                <a:gd name="T3" fmla="*/ 97 h 193"/>
                <a:gd name="T4" fmla="*/ 136 w 192"/>
                <a:gd name="T5" fmla="*/ 9 h 193"/>
                <a:gd name="T6" fmla="*/ 97 w 192"/>
                <a:gd name="T7" fmla="*/ 0 h 193"/>
                <a:gd name="T8" fmla="*/ 57 w 192"/>
                <a:gd name="T9" fmla="*/ 9 h 193"/>
                <a:gd name="T10" fmla="*/ 1 w 192"/>
                <a:gd name="T11" fmla="*/ 97 h 193"/>
                <a:gd name="T12" fmla="*/ 97 w 19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92" h="193">
                  <a:moveTo>
                    <a:pt x="97" y="193"/>
                  </a:moveTo>
                  <a:cubicBezTo>
                    <a:pt x="150" y="193"/>
                    <a:pt x="192" y="150"/>
                    <a:pt x="192" y="97"/>
                  </a:cubicBezTo>
                  <a:cubicBezTo>
                    <a:pt x="192" y="57"/>
                    <a:pt x="169" y="25"/>
                    <a:pt x="136" y="9"/>
                  </a:cubicBezTo>
                  <a:cubicBezTo>
                    <a:pt x="124" y="3"/>
                    <a:pt x="110" y="0"/>
                    <a:pt x="97" y="0"/>
                  </a:cubicBezTo>
                  <a:cubicBezTo>
                    <a:pt x="83" y="0"/>
                    <a:pt x="68" y="3"/>
                    <a:pt x="57" y="9"/>
                  </a:cubicBezTo>
                  <a:cubicBezTo>
                    <a:pt x="24" y="24"/>
                    <a:pt x="1" y="57"/>
                    <a:pt x="1" y="97"/>
                  </a:cubicBezTo>
                  <a:cubicBezTo>
                    <a:pt x="0" y="150"/>
                    <a:pt x="44" y="193"/>
                    <a:pt x="97" y="193"/>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45">
              <a:extLst>
                <a:ext uri="{FF2B5EF4-FFF2-40B4-BE49-F238E27FC236}">
                  <a16:creationId xmlns:a16="http://schemas.microsoft.com/office/drawing/2014/main" id="{7522CDD0-C894-40EA-8838-62A472E13DF7}"/>
                </a:ext>
              </a:extLst>
            </p:cNvPr>
            <p:cNvSpPr>
              <a:spLocks/>
            </p:cNvSpPr>
            <p:nvPr/>
          </p:nvSpPr>
          <p:spPr bwMode="auto">
            <a:xfrm>
              <a:off x="10447338" y="2491581"/>
              <a:ext cx="171450" cy="87313"/>
            </a:xfrm>
            <a:custGeom>
              <a:avLst/>
              <a:gdLst>
                <a:gd name="T0" fmla="*/ 145 w 289"/>
                <a:gd name="T1" fmla="*/ 0 h 145"/>
                <a:gd name="T2" fmla="*/ 0 w 289"/>
                <a:gd name="T3" fmla="*/ 145 h 145"/>
                <a:gd name="T4" fmla="*/ 289 w 289"/>
                <a:gd name="T5" fmla="*/ 145 h 145"/>
                <a:gd name="T6" fmla="*/ 145 w 289"/>
                <a:gd name="T7" fmla="*/ 0 h 145"/>
              </a:gdLst>
              <a:ahLst/>
              <a:cxnLst>
                <a:cxn ang="0">
                  <a:pos x="T0" y="T1"/>
                </a:cxn>
                <a:cxn ang="0">
                  <a:pos x="T2" y="T3"/>
                </a:cxn>
                <a:cxn ang="0">
                  <a:pos x="T4" y="T5"/>
                </a:cxn>
                <a:cxn ang="0">
                  <a:pos x="T6" y="T7"/>
                </a:cxn>
              </a:cxnLst>
              <a:rect l="0" t="0" r="r" b="b"/>
              <a:pathLst>
                <a:path w="289" h="145">
                  <a:moveTo>
                    <a:pt x="145" y="0"/>
                  </a:moveTo>
                  <a:cubicBezTo>
                    <a:pt x="64" y="0"/>
                    <a:pt x="0" y="65"/>
                    <a:pt x="0" y="145"/>
                  </a:cubicBezTo>
                  <a:lnTo>
                    <a:pt x="289" y="145"/>
                  </a:lnTo>
                  <a:cubicBezTo>
                    <a:pt x="289" y="66"/>
                    <a:pt x="223" y="0"/>
                    <a:pt x="145"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46">
              <a:extLst>
                <a:ext uri="{FF2B5EF4-FFF2-40B4-BE49-F238E27FC236}">
                  <a16:creationId xmlns:a16="http://schemas.microsoft.com/office/drawing/2014/main" id="{1BF30B98-4994-48BA-8F04-03D3D12B5E5F}"/>
                </a:ext>
              </a:extLst>
            </p:cNvPr>
            <p:cNvSpPr>
              <a:spLocks/>
            </p:cNvSpPr>
            <p:nvPr/>
          </p:nvSpPr>
          <p:spPr bwMode="auto">
            <a:xfrm>
              <a:off x="10353676" y="2520156"/>
              <a:ext cx="79375" cy="58738"/>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47">
              <a:extLst>
                <a:ext uri="{FF2B5EF4-FFF2-40B4-BE49-F238E27FC236}">
                  <a16:creationId xmlns:a16="http://schemas.microsoft.com/office/drawing/2014/main" id="{1754E8E0-B867-46EE-8D66-A45C39BA134E}"/>
                </a:ext>
              </a:extLst>
            </p:cNvPr>
            <p:cNvSpPr>
              <a:spLocks/>
            </p:cNvSpPr>
            <p:nvPr/>
          </p:nvSpPr>
          <p:spPr bwMode="auto">
            <a:xfrm>
              <a:off x="10367963" y="2421731"/>
              <a:ext cx="85725" cy="85725"/>
            </a:xfrm>
            <a:custGeom>
              <a:avLst/>
              <a:gdLst>
                <a:gd name="T0" fmla="*/ 144 w 288"/>
                <a:gd name="T1" fmla="*/ 0 h 289"/>
                <a:gd name="T2" fmla="*/ 0 w 288"/>
                <a:gd name="T3" fmla="*/ 145 h 289"/>
                <a:gd name="T4" fmla="*/ 52 w 288"/>
                <a:gd name="T5" fmla="*/ 255 h 289"/>
                <a:gd name="T6" fmla="*/ 135 w 288"/>
                <a:gd name="T7" fmla="*/ 289 h 289"/>
                <a:gd name="T8" fmla="*/ 144 w 288"/>
                <a:gd name="T9" fmla="*/ 289 h 289"/>
                <a:gd name="T10" fmla="*/ 153 w 288"/>
                <a:gd name="T11" fmla="*/ 289 h 289"/>
                <a:gd name="T12" fmla="*/ 237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2" y="255"/>
                  </a:cubicBezTo>
                  <a:cubicBezTo>
                    <a:pt x="74" y="275"/>
                    <a:pt x="103" y="287"/>
                    <a:pt x="135" y="289"/>
                  </a:cubicBezTo>
                  <a:cubicBezTo>
                    <a:pt x="137" y="289"/>
                    <a:pt x="140" y="289"/>
                    <a:pt x="144" y="289"/>
                  </a:cubicBezTo>
                  <a:cubicBezTo>
                    <a:pt x="146" y="289"/>
                    <a:pt x="149" y="289"/>
                    <a:pt x="153" y="289"/>
                  </a:cubicBezTo>
                  <a:cubicBezTo>
                    <a:pt x="185" y="287"/>
                    <a:pt x="214" y="275"/>
                    <a:pt x="237" y="255"/>
                  </a:cubicBezTo>
                  <a:cubicBezTo>
                    <a:pt x="268" y="228"/>
                    <a:pt x="288" y="190"/>
                    <a:pt x="288" y="145"/>
                  </a:cubicBezTo>
                  <a:cubicBezTo>
                    <a:pt x="288"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220">
              <a:extLst>
                <a:ext uri="{FF2B5EF4-FFF2-40B4-BE49-F238E27FC236}">
                  <a16:creationId xmlns:a16="http://schemas.microsoft.com/office/drawing/2014/main" id="{06E526F6-21EF-4FF6-A1D1-017D3068DFB5}"/>
                </a:ext>
              </a:extLst>
            </p:cNvPr>
            <p:cNvSpPr>
              <a:spLocks/>
            </p:cNvSpPr>
            <p:nvPr/>
          </p:nvSpPr>
          <p:spPr bwMode="auto">
            <a:xfrm>
              <a:off x="10599738" y="271780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221">
              <a:extLst>
                <a:ext uri="{FF2B5EF4-FFF2-40B4-BE49-F238E27FC236}">
                  <a16:creationId xmlns:a16="http://schemas.microsoft.com/office/drawing/2014/main" id="{EAE9EDE2-CBDE-4C14-BE2E-51ADE7E6B663}"/>
                </a:ext>
              </a:extLst>
            </p:cNvPr>
            <p:cNvSpPr>
              <a:spLocks/>
            </p:cNvSpPr>
            <p:nvPr/>
          </p:nvSpPr>
          <p:spPr bwMode="auto">
            <a:xfrm>
              <a:off x="10599738" y="271780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Rectangle 222">
              <a:extLst>
                <a:ext uri="{FF2B5EF4-FFF2-40B4-BE49-F238E27FC236}">
                  <a16:creationId xmlns:a16="http://schemas.microsoft.com/office/drawing/2014/main" id="{92788E0C-2F4F-46A3-B648-A652D5809181}"/>
                </a:ext>
              </a:extLst>
            </p:cNvPr>
            <p:cNvSpPr>
              <a:spLocks noChangeArrowheads="1"/>
            </p:cNvSpPr>
            <p:nvPr/>
          </p:nvSpPr>
          <p:spPr bwMode="auto">
            <a:xfrm>
              <a:off x="10875963" y="2814638"/>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9" name="Freeform 223">
              <a:extLst>
                <a:ext uri="{FF2B5EF4-FFF2-40B4-BE49-F238E27FC236}">
                  <a16:creationId xmlns:a16="http://schemas.microsoft.com/office/drawing/2014/main" id="{EBFABFA3-C9DE-44C3-A9CF-DF4748A44F52}"/>
                </a:ext>
              </a:extLst>
            </p:cNvPr>
            <p:cNvSpPr>
              <a:spLocks/>
            </p:cNvSpPr>
            <p:nvPr/>
          </p:nvSpPr>
          <p:spPr bwMode="auto">
            <a:xfrm>
              <a:off x="10599738" y="327025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24">
              <a:extLst>
                <a:ext uri="{FF2B5EF4-FFF2-40B4-BE49-F238E27FC236}">
                  <a16:creationId xmlns:a16="http://schemas.microsoft.com/office/drawing/2014/main" id="{C1B9E7C5-034A-4555-B3FD-014F524BDD7A}"/>
                </a:ext>
              </a:extLst>
            </p:cNvPr>
            <p:cNvSpPr>
              <a:spLocks/>
            </p:cNvSpPr>
            <p:nvPr/>
          </p:nvSpPr>
          <p:spPr bwMode="auto">
            <a:xfrm>
              <a:off x="10599738" y="3270250"/>
              <a:ext cx="963613" cy="361950"/>
            </a:xfrm>
            <a:custGeom>
              <a:avLst/>
              <a:gdLst>
                <a:gd name="T0" fmla="*/ 162 w 1616"/>
                <a:gd name="T1" fmla="*/ 608 h 608"/>
                <a:gd name="T2" fmla="*/ 1455 w 1616"/>
                <a:gd name="T3" fmla="*/ 608 h 608"/>
                <a:gd name="T4" fmla="*/ 1616 w 1616"/>
                <a:gd name="T5" fmla="*/ 446 h 608"/>
                <a:gd name="T6" fmla="*/ 1616 w 1616"/>
                <a:gd name="T7" fmla="*/ 161 h 608"/>
                <a:gd name="T8" fmla="*/ 1455 w 1616"/>
                <a:gd name="T9" fmla="*/ 0 h 608"/>
                <a:gd name="T10" fmla="*/ 162 w 1616"/>
                <a:gd name="T11" fmla="*/ 0 h 608"/>
                <a:gd name="T12" fmla="*/ 0 w 1616"/>
                <a:gd name="T13" fmla="*/ 161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5"/>
                    <a:pt x="1616" y="446"/>
                  </a:cubicBezTo>
                  <a:lnTo>
                    <a:pt x="1616" y="161"/>
                  </a:lnTo>
                  <a:cubicBezTo>
                    <a:pt x="1616" y="72"/>
                    <a:pt x="1544" y="0"/>
                    <a:pt x="1455" y="0"/>
                  </a:cubicBezTo>
                  <a:lnTo>
                    <a:pt x="162" y="0"/>
                  </a:lnTo>
                  <a:cubicBezTo>
                    <a:pt x="73" y="0"/>
                    <a:pt x="0" y="72"/>
                    <a:pt x="0" y="161"/>
                  </a:cubicBezTo>
                  <a:lnTo>
                    <a:pt x="0" y="446"/>
                  </a:lnTo>
                  <a:cubicBezTo>
                    <a:pt x="0" y="535"/>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225">
              <a:extLst>
                <a:ext uri="{FF2B5EF4-FFF2-40B4-BE49-F238E27FC236}">
                  <a16:creationId xmlns:a16="http://schemas.microsoft.com/office/drawing/2014/main" id="{FC73A79E-364B-4D7D-91A8-786DAAD935FD}"/>
                </a:ext>
              </a:extLst>
            </p:cNvPr>
            <p:cNvSpPr>
              <a:spLocks noChangeArrowheads="1"/>
            </p:cNvSpPr>
            <p:nvPr/>
          </p:nvSpPr>
          <p:spPr bwMode="auto">
            <a:xfrm>
              <a:off x="10734676" y="3368675"/>
              <a:ext cx="830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Collaborator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46" name="Freeform 226">
              <a:extLst>
                <a:ext uri="{FF2B5EF4-FFF2-40B4-BE49-F238E27FC236}">
                  <a16:creationId xmlns:a16="http://schemas.microsoft.com/office/drawing/2014/main" id="{CE744200-A364-4803-807A-5B44208FA1D4}"/>
                </a:ext>
              </a:extLst>
            </p:cNvPr>
            <p:cNvSpPr>
              <a:spLocks/>
            </p:cNvSpPr>
            <p:nvPr/>
          </p:nvSpPr>
          <p:spPr bwMode="auto">
            <a:xfrm>
              <a:off x="10256838" y="2022475"/>
              <a:ext cx="280988" cy="876300"/>
            </a:xfrm>
            <a:custGeom>
              <a:avLst/>
              <a:gdLst>
                <a:gd name="T0" fmla="*/ 0 w 177"/>
                <a:gd name="T1" fmla="*/ 0 h 552"/>
                <a:gd name="T2" fmla="*/ 0 w 177"/>
                <a:gd name="T3" fmla="*/ 552 h 552"/>
                <a:gd name="T4" fmla="*/ 177 w 177"/>
                <a:gd name="T5" fmla="*/ 552 h 552"/>
              </a:gdLst>
              <a:ahLst/>
              <a:cxnLst>
                <a:cxn ang="0">
                  <a:pos x="T0" y="T1"/>
                </a:cxn>
                <a:cxn ang="0">
                  <a:pos x="T2" y="T3"/>
                </a:cxn>
                <a:cxn ang="0">
                  <a:pos x="T4" y="T5"/>
                </a:cxn>
              </a:cxnLst>
              <a:rect l="0" t="0" r="r" b="b"/>
              <a:pathLst>
                <a:path w="177" h="552">
                  <a:moveTo>
                    <a:pt x="0" y="0"/>
                  </a:moveTo>
                  <a:lnTo>
                    <a:pt x="0" y="552"/>
                  </a:lnTo>
                  <a:lnTo>
                    <a:pt x="177" y="552"/>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Freeform 227">
              <a:extLst>
                <a:ext uri="{FF2B5EF4-FFF2-40B4-BE49-F238E27FC236}">
                  <a16:creationId xmlns:a16="http://schemas.microsoft.com/office/drawing/2014/main" id="{3B924AB4-05EB-4662-921E-76E06B934487}"/>
                </a:ext>
              </a:extLst>
            </p:cNvPr>
            <p:cNvSpPr>
              <a:spLocks/>
            </p:cNvSpPr>
            <p:nvPr/>
          </p:nvSpPr>
          <p:spPr bwMode="auto">
            <a:xfrm>
              <a:off x="10517188" y="2857500"/>
              <a:ext cx="82550" cy="82550"/>
            </a:xfrm>
            <a:custGeom>
              <a:avLst/>
              <a:gdLst>
                <a:gd name="T0" fmla="*/ 139 w 139"/>
                <a:gd name="T1" fmla="*/ 70 h 139"/>
                <a:gd name="T2" fmla="*/ 0 w 139"/>
                <a:gd name="T3" fmla="*/ 139 h 139"/>
                <a:gd name="T4" fmla="*/ 0 w 139"/>
                <a:gd name="T5" fmla="*/ 0 h 139"/>
                <a:gd name="T6" fmla="*/ 139 w 139"/>
                <a:gd name="T7" fmla="*/ 70 h 139"/>
              </a:gdLst>
              <a:ahLst/>
              <a:cxnLst>
                <a:cxn ang="0">
                  <a:pos x="T0" y="T1"/>
                </a:cxn>
                <a:cxn ang="0">
                  <a:pos x="T2" y="T3"/>
                </a:cxn>
                <a:cxn ang="0">
                  <a:pos x="T4" y="T5"/>
                </a:cxn>
                <a:cxn ang="0">
                  <a:pos x="T6" y="T7"/>
                </a:cxn>
              </a:cxnLst>
              <a:rect l="0" t="0" r="r" b="b"/>
              <a:pathLst>
                <a:path w="139" h="139">
                  <a:moveTo>
                    <a:pt x="139" y="70"/>
                  </a:moveTo>
                  <a:lnTo>
                    <a:pt x="0" y="139"/>
                  </a:lnTo>
                  <a:cubicBezTo>
                    <a:pt x="22" y="96"/>
                    <a:pt x="22" y="44"/>
                    <a:pt x="0" y="0"/>
                  </a:cubicBezTo>
                  <a:lnTo>
                    <a:pt x="139" y="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Rectangle 228">
              <a:extLst>
                <a:ext uri="{FF2B5EF4-FFF2-40B4-BE49-F238E27FC236}">
                  <a16:creationId xmlns:a16="http://schemas.microsoft.com/office/drawing/2014/main" id="{50CDBD36-17A3-4313-ACE2-6196C6FF03F5}"/>
                </a:ext>
              </a:extLst>
            </p:cNvPr>
            <p:cNvSpPr>
              <a:spLocks noChangeArrowheads="1"/>
            </p:cNvSpPr>
            <p:nvPr/>
          </p:nvSpPr>
          <p:spPr bwMode="auto">
            <a:xfrm>
              <a:off x="10312401" y="2036763"/>
              <a:ext cx="395288"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Segoe UI" panose="020B0502040204020203" pitchFamily="34" charset="0"/>
                </a:rPr>
                <a:t>Sever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49" name="Rectangle 229">
              <a:extLst>
                <a:ext uri="{FF2B5EF4-FFF2-40B4-BE49-F238E27FC236}">
                  <a16:creationId xmlns:a16="http://schemas.microsoft.com/office/drawing/2014/main" id="{2448B282-4342-403D-A07B-B0393C5F6744}"/>
                </a:ext>
              </a:extLst>
            </p:cNvPr>
            <p:cNvSpPr>
              <a:spLocks noChangeArrowheads="1"/>
            </p:cNvSpPr>
            <p:nvPr/>
          </p:nvSpPr>
          <p:spPr bwMode="auto">
            <a:xfrm>
              <a:off x="10312401" y="2159000"/>
              <a:ext cx="533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Case no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0" name="Freeform 230">
              <a:extLst>
                <a:ext uri="{FF2B5EF4-FFF2-40B4-BE49-F238E27FC236}">
                  <a16:creationId xmlns:a16="http://schemas.microsoft.com/office/drawing/2014/main" id="{28F83706-4D66-4FC5-A910-5CFBFBB76104}"/>
                </a:ext>
              </a:extLst>
            </p:cNvPr>
            <p:cNvSpPr>
              <a:spLocks/>
            </p:cNvSpPr>
            <p:nvPr/>
          </p:nvSpPr>
          <p:spPr bwMode="auto">
            <a:xfrm>
              <a:off x="10256838" y="2022475"/>
              <a:ext cx="280988" cy="1428750"/>
            </a:xfrm>
            <a:custGeom>
              <a:avLst/>
              <a:gdLst>
                <a:gd name="T0" fmla="*/ 0 w 177"/>
                <a:gd name="T1" fmla="*/ 0 h 900"/>
                <a:gd name="T2" fmla="*/ 0 w 177"/>
                <a:gd name="T3" fmla="*/ 900 h 900"/>
                <a:gd name="T4" fmla="*/ 177 w 177"/>
                <a:gd name="T5" fmla="*/ 900 h 900"/>
              </a:gdLst>
              <a:ahLst/>
              <a:cxnLst>
                <a:cxn ang="0">
                  <a:pos x="T0" y="T1"/>
                </a:cxn>
                <a:cxn ang="0">
                  <a:pos x="T2" y="T3"/>
                </a:cxn>
                <a:cxn ang="0">
                  <a:pos x="T4" y="T5"/>
                </a:cxn>
              </a:cxnLst>
              <a:rect l="0" t="0" r="r" b="b"/>
              <a:pathLst>
                <a:path w="177" h="900">
                  <a:moveTo>
                    <a:pt x="0" y="0"/>
                  </a:moveTo>
                  <a:lnTo>
                    <a:pt x="0" y="900"/>
                  </a:lnTo>
                  <a:lnTo>
                    <a:pt x="177" y="90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Freeform 231">
              <a:extLst>
                <a:ext uri="{FF2B5EF4-FFF2-40B4-BE49-F238E27FC236}">
                  <a16:creationId xmlns:a16="http://schemas.microsoft.com/office/drawing/2014/main" id="{3E8ED689-8252-4E4B-AC4C-8FF34D7D4AE7}"/>
                </a:ext>
              </a:extLst>
            </p:cNvPr>
            <p:cNvSpPr>
              <a:spLocks/>
            </p:cNvSpPr>
            <p:nvPr/>
          </p:nvSpPr>
          <p:spPr bwMode="auto">
            <a:xfrm>
              <a:off x="10517188" y="3409950"/>
              <a:ext cx="82550" cy="82550"/>
            </a:xfrm>
            <a:custGeom>
              <a:avLst/>
              <a:gdLst>
                <a:gd name="T0" fmla="*/ 139 w 139"/>
                <a:gd name="T1" fmla="*/ 70 h 139"/>
                <a:gd name="T2" fmla="*/ 0 w 139"/>
                <a:gd name="T3" fmla="*/ 139 h 139"/>
                <a:gd name="T4" fmla="*/ 0 w 139"/>
                <a:gd name="T5" fmla="*/ 0 h 139"/>
                <a:gd name="T6" fmla="*/ 139 w 139"/>
                <a:gd name="T7" fmla="*/ 70 h 139"/>
              </a:gdLst>
              <a:ahLst/>
              <a:cxnLst>
                <a:cxn ang="0">
                  <a:pos x="T0" y="T1"/>
                </a:cxn>
                <a:cxn ang="0">
                  <a:pos x="T2" y="T3"/>
                </a:cxn>
                <a:cxn ang="0">
                  <a:pos x="T4" y="T5"/>
                </a:cxn>
                <a:cxn ang="0">
                  <a:pos x="T6" y="T7"/>
                </a:cxn>
              </a:cxnLst>
              <a:rect l="0" t="0" r="r" b="b"/>
              <a:pathLst>
                <a:path w="139" h="139">
                  <a:moveTo>
                    <a:pt x="139" y="70"/>
                  </a:moveTo>
                  <a:lnTo>
                    <a:pt x="0" y="139"/>
                  </a:lnTo>
                  <a:cubicBezTo>
                    <a:pt x="22" y="96"/>
                    <a:pt x="22" y="44"/>
                    <a:pt x="0" y="0"/>
                  </a:cubicBezTo>
                  <a:lnTo>
                    <a:pt x="139" y="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2" name="Group 351">
            <a:extLst>
              <a:ext uri="{FF2B5EF4-FFF2-40B4-BE49-F238E27FC236}">
                <a16:creationId xmlns:a16="http://schemas.microsoft.com/office/drawing/2014/main" id="{5F43F952-A97E-4772-AF59-708BCC7424ED}"/>
              </a:ext>
            </a:extLst>
          </p:cNvPr>
          <p:cNvGrpSpPr/>
          <p:nvPr/>
        </p:nvGrpSpPr>
        <p:grpSpPr>
          <a:xfrm>
            <a:off x="5424488" y="5967413"/>
            <a:ext cx="6084888" cy="328613"/>
            <a:chOff x="5424488" y="5967413"/>
            <a:chExt cx="6084888" cy="328613"/>
          </a:xfrm>
        </p:grpSpPr>
        <p:sp>
          <p:nvSpPr>
            <p:cNvPr id="353" name="Rectangle 237">
              <a:extLst>
                <a:ext uri="{FF2B5EF4-FFF2-40B4-BE49-F238E27FC236}">
                  <a16:creationId xmlns:a16="http://schemas.microsoft.com/office/drawing/2014/main" id="{B6BBC703-C92D-4A4F-973D-4AC8FB8DD51B}"/>
                </a:ext>
              </a:extLst>
            </p:cNvPr>
            <p:cNvSpPr>
              <a:spLocks noChangeArrowheads="1"/>
            </p:cNvSpPr>
            <p:nvPr/>
          </p:nvSpPr>
          <p:spPr bwMode="auto">
            <a:xfrm>
              <a:off x="6018213" y="5967413"/>
              <a:ext cx="19018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rPr>
                <a:t>Namespace : microsoft.grap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54" name="Rectangle 238">
              <a:extLst>
                <a:ext uri="{FF2B5EF4-FFF2-40B4-BE49-F238E27FC236}">
                  <a16:creationId xmlns:a16="http://schemas.microsoft.com/office/drawing/2014/main" id="{3F12F455-3E36-4435-9544-7892E425A9E3}"/>
                </a:ext>
              </a:extLst>
            </p:cNvPr>
            <p:cNvSpPr>
              <a:spLocks noChangeArrowheads="1"/>
            </p:cNvSpPr>
            <p:nvPr/>
          </p:nvSpPr>
          <p:spPr bwMode="auto">
            <a:xfrm>
              <a:off x="5424488" y="6024563"/>
              <a:ext cx="487363" cy="207963"/>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239">
              <a:extLst>
                <a:ext uri="{FF2B5EF4-FFF2-40B4-BE49-F238E27FC236}">
                  <a16:creationId xmlns:a16="http://schemas.microsoft.com/office/drawing/2014/main" id="{7611E6D6-3AEB-4B17-A3B8-CBE62D30EEB1}"/>
                </a:ext>
              </a:extLst>
            </p:cNvPr>
            <p:cNvSpPr>
              <a:spLocks noChangeArrowheads="1"/>
            </p:cNvSpPr>
            <p:nvPr/>
          </p:nvSpPr>
          <p:spPr bwMode="auto">
            <a:xfrm>
              <a:off x="5562601" y="6034088"/>
              <a:ext cx="2952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rPr>
                <a:t>AP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6" name="Rectangle 240">
              <a:extLst>
                <a:ext uri="{FF2B5EF4-FFF2-40B4-BE49-F238E27FC236}">
                  <a16:creationId xmlns:a16="http://schemas.microsoft.com/office/drawing/2014/main" id="{DE2AB4A0-BF66-4739-8473-DED4BE9507CB}"/>
                </a:ext>
              </a:extLst>
            </p:cNvPr>
            <p:cNvSpPr>
              <a:spLocks noChangeArrowheads="1"/>
            </p:cNvSpPr>
            <p:nvPr/>
          </p:nvSpPr>
          <p:spPr bwMode="auto">
            <a:xfrm>
              <a:off x="6018213" y="6142038"/>
              <a:ext cx="130651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https://docs.microsoft.com/e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7" name="Rectangle 241">
              <a:extLst>
                <a:ext uri="{FF2B5EF4-FFF2-40B4-BE49-F238E27FC236}">
                  <a16:creationId xmlns:a16="http://schemas.microsoft.com/office/drawing/2014/main" id="{C2CF2339-B140-4728-B48E-EBFE6F1EF235}"/>
                </a:ext>
              </a:extLst>
            </p:cNvPr>
            <p:cNvSpPr>
              <a:spLocks noChangeArrowheads="1"/>
            </p:cNvSpPr>
            <p:nvPr/>
          </p:nvSpPr>
          <p:spPr bwMode="auto">
            <a:xfrm>
              <a:off x="72961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8" name="Rectangle 242">
              <a:extLst>
                <a:ext uri="{FF2B5EF4-FFF2-40B4-BE49-F238E27FC236}">
                  <a16:creationId xmlns:a16="http://schemas.microsoft.com/office/drawing/2014/main" id="{1718FDBD-30FB-45CA-94F1-83908499D523}"/>
                </a:ext>
              </a:extLst>
            </p:cNvPr>
            <p:cNvSpPr>
              <a:spLocks noChangeArrowheads="1"/>
            </p:cNvSpPr>
            <p:nvPr/>
          </p:nvSpPr>
          <p:spPr bwMode="auto">
            <a:xfrm>
              <a:off x="7327901" y="6142038"/>
              <a:ext cx="18811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us/graph/api/resources/subjectrightsrequ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9" name="Rectangle 243">
              <a:extLst>
                <a:ext uri="{FF2B5EF4-FFF2-40B4-BE49-F238E27FC236}">
                  <a16:creationId xmlns:a16="http://schemas.microsoft.com/office/drawing/2014/main" id="{9B4631DE-29C3-47BD-B0BB-F52076B9C1B7}"/>
                </a:ext>
              </a:extLst>
            </p:cNvPr>
            <p:cNvSpPr>
              <a:spLocks noChangeArrowheads="1"/>
            </p:cNvSpPr>
            <p:nvPr/>
          </p:nvSpPr>
          <p:spPr bwMode="auto">
            <a:xfrm>
              <a:off x="9193213"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0" name="Rectangle 244">
              <a:extLst>
                <a:ext uri="{FF2B5EF4-FFF2-40B4-BE49-F238E27FC236}">
                  <a16:creationId xmlns:a16="http://schemas.microsoft.com/office/drawing/2014/main" id="{48780054-56C3-47F0-91B8-10E73994BE47}"/>
                </a:ext>
              </a:extLst>
            </p:cNvPr>
            <p:cNvSpPr>
              <a:spLocks noChangeArrowheads="1"/>
            </p:cNvSpPr>
            <p:nvPr/>
          </p:nvSpPr>
          <p:spPr bwMode="auto">
            <a:xfrm>
              <a:off x="9223376" y="6142038"/>
              <a:ext cx="18970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subjectrightsrequestapioverview?view=graph</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1" name="Rectangle 245">
              <a:extLst>
                <a:ext uri="{FF2B5EF4-FFF2-40B4-BE49-F238E27FC236}">
                  <a16:creationId xmlns:a16="http://schemas.microsoft.com/office/drawing/2014/main" id="{15DA4C94-5009-45E5-8C12-7EC408F41883}"/>
                </a:ext>
              </a:extLst>
            </p:cNvPr>
            <p:cNvSpPr>
              <a:spLocks noChangeArrowheads="1"/>
            </p:cNvSpPr>
            <p:nvPr/>
          </p:nvSpPr>
          <p:spPr bwMode="auto">
            <a:xfrm>
              <a:off x="111061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2" name="Rectangle 246">
              <a:extLst>
                <a:ext uri="{FF2B5EF4-FFF2-40B4-BE49-F238E27FC236}">
                  <a16:creationId xmlns:a16="http://schemas.microsoft.com/office/drawing/2014/main" id="{8A06441C-E855-427F-9545-F8B02563707A}"/>
                </a:ext>
              </a:extLst>
            </p:cNvPr>
            <p:cNvSpPr>
              <a:spLocks noChangeArrowheads="1"/>
            </p:cNvSpPr>
            <p:nvPr/>
          </p:nvSpPr>
          <p:spPr bwMode="auto">
            <a:xfrm>
              <a:off x="11136313" y="6142038"/>
              <a:ext cx="2095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re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3" name="Rectangle 247">
              <a:extLst>
                <a:ext uri="{FF2B5EF4-FFF2-40B4-BE49-F238E27FC236}">
                  <a16:creationId xmlns:a16="http://schemas.microsoft.com/office/drawing/2014/main" id="{0F6D105C-D4C2-475D-BAC8-E81C2BA7704B}"/>
                </a:ext>
              </a:extLst>
            </p:cNvPr>
            <p:cNvSpPr>
              <a:spLocks noChangeArrowheads="1"/>
            </p:cNvSpPr>
            <p:nvPr/>
          </p:nvSpPr>
          <p:spPr bwMode="auto">
            <a:xfrm>
              <a:off x="11296651" y="6142038"/>
              <a:ext cx="809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4" name="Rectangle 248">
              <a:extLst>
                <a:ext uri="{FF2B5EF4-FFF2-40B4-BE49-F238E27FC236}">
                  <a16:creationId xmlns:a16="http://schemas.microsoft.com/office/drawing/2014/main" id="{9E331E4E-6315-42EB-8AB5-DADDE2472071}"/>
                </a:ext>
              </a:extLst>
            </p:cNvPr>
            <p:cNvSpPr>
              <a:spLocks noChangeArrowheads="1"/>
            </p:cNvSpPr>
            <p:nvPr/>
          </p:nvSpPr>
          <p:spPr bwMode="auto">
            <a:xfrm>
              <a:off x="11328401" y="6142038"/>
              <a:ext cx="18097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Calibri" panose="020F050202020403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Freeform 13">
            <a:extLst>
              <a:ext uri="{FF2B5EF4-FFF2-40B4-BE49-F238E27FC236}">
                <a16:creationId xmlns:a16="http://schemas.microsoft.com/office/drawing/2014/main" id="{062C5576-0686-4E81-A05D-787CCC16FFB4}"/>
              </a:ext>
            </a:extLst>
          </p:cNvPr>
          <p:cNvSpPr>
            <a:spLocks/>
          </p:cNvSpPr>
          <p:nvPr/>
        </p:nvSpPr>
        <p:spPr bwMode="auto">
          <a:xfrm>
            <a:off x="3824935" y="260746"/>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7" name="Freeform 14">
            <a:extLst>
              <a:ext uri="{FF2B5EF4-FFF2-40B4-BE49-F238E27FC236}">
                <a16:creationId xmlns:a16="http://schemas.microsoft.com/office/drawing/2014/main" id="{C32E3F97-34B4-49FB-B732-4CA8676ADA56}"/>
              </a:ext>
            </a:extLst>
          </p:cNvPr>
          <p:cNvSpPr>
            <a:spLocks/>
          </p:cNvSpPr>
          <p:nvPr/>
        </p:nvSpPr>
        <p:spPr bwMode="auto">
          <a:xfrm>
            <a:off x="3832226" y="26590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14">
            <a:extLst>
              <a:ext uri="{FF2B5EF4-FFF2-40B4-BE49-F238E27FC236}">
                <a16:creationId xmlns:a16="http://schemas.microsoft.com/office/drawing/2014/main" id="{2C8AA917-001B-4D02-8830-A86163B8E95A}"/>
              </a:ext>
            </a:extLst>
          </p:cNvPr>
          <p:cNvSpPr>
            <a:spLocks/>
          </p:cNvSpPr>
          <p:nvPr/>
        </p:nvSpPr>
        <p:spPr bwMode="auto">
          <a:xfrm>
            <a:off x="3829673" y="260746"/>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Rectangle 15">
            <a:extLst>
              <a:ext uri="{FF2B5EF4-FFF2-40B4-BE49-F238E27FC236}">
                <a16:creationId xmlns:a16="http://schemas.microsoft.com/office/drawing/2014/main" id="{A9AADC9A-742D-4416-95F0-1A6E19ACA96B}"/>
              </a:ext>
            </a:extLst>
          </p:cNvPr>
          <p:cNvSpPr>
            <a:spLocks noChangeArrowheads="1"/>
          </p:cNvSpPr>
          <p:nvPr/>
        </p:nvSpPr>
        <p:spPr bwMode="auto">
          <a:xfrm>
            <a:off x="4166001" y="349300"/>
            <a:ext cx="2981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93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8"/>
                                        </p:tgtEl>
                                        <p:attrNameLst>
                                          <p:attrName>style.visibility</p:attrName>
                                        </p:attrNameLst>
                                      </p:cBhvr>
                                      <p:to>
                                        <p:strVal val="visible"/>
                                      </p:to>
                                    </p:set>
                                    <p:animEffect transition="in" filter="wipe(up)">
                                      <p:cBhvr>
                                        <p:cTn id="12" dur="2000"/>
                                        <p:tgtEl>
                                          <p:spTgt spid="13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40"/>
                                        </p:tgtEl>
                                        <p:attrNameLst>
                                          <p:attrName>style.visibility</p:attrName>
                                        </p:attrNameLst>
                                      </p:cBhvr>
                                      <p:to>
                                        <p:strVal val="visible"/>
                                      </p:to>
                                    </p:set>
                                    <p:animEffect transition="in" filter="wipe(up)">
                                      <p:cBhvr>
                                        <p:cTn id="17" dur="2000"/>
                                        <p:tgtEl>
                                          <p:spTgt spid="24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wipe(up)">
                                      <p:cBhvr>
                                        <p:cTn id="22" dur="1000"/>
                                        <p:tgtEl>
                                          <p:spTgt spid="30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52"/>
                                        </p:tgtEl>
                                        <p:attrNameLst>
                                          <p:attrName>style.visibility</p:attrName>
                                        </p:attrNameLst>
                                      </p:cBhvr>
                                      <p:to>
                                        <p:strVal val="visible"/>
                                      </p:to>
                                    </p:set>
                                    <p:animEffect transition="in" filter="fade">
                                      <p:cBhvr>
                                        <p:cTn id="27"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Microsoft Priva</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37327329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5375" y="1070592"/>
            <a:ext cx="6410325" cy="4810125"/>
          </a:xfrm>
          <a:prstGeom prst="rect">
            <a:avLst/>
          </a:prstGeom>
          <a:noFill/>
        </p:spPr>
      </p:pic>
    </p:spTree>
    <p:extLst>
      <p:ext uri="{BB962C8B-B14F-4D97-AF65-F5344CB8AC3E}">
        <p14:creationId xmlns:p14="http://schemas.microsoft.com/office/powerpoint/2010/main" val="688505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8B9BEF-F9D2-42E5-A6CD-DCF395CE586C}"/>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iva – </a:t>
            </a:r>
            <a:r>
              <a:rPr lang="en-US" sz="2000" dirty="0">
                <a:solidFill>
                  <a:srgbClr val="FFFFFF"/>
                </a:solidFill>
                <a:latin typeface="Segoe UI"/>
              </a:rPr>
              <a:t>Screenshot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78" name="Group 377">
            <a:extLst>
              <a:ext uri="{FF2B5EF4-FFF2-40B4-BE49-F238E27FC236}">
                <a16:creationId xmlns:a16="http://schemas.microsoft.com/office/drawing/2014/main" id="{D9CAAC37-BD49-46AE-AC5B-22C1DE3071B0}"/>
              </a:ext>
            </a:extLst>
          </p:cNvPr>
          <p:cNvGrpSpPr/>
          <p:nvPr/>
        </p:nvGrpSpPr>
        <p:grpSpPr>
          <a:xfrm>
            <a:off x="1399397" y="694337"/>
            <a:ext cx="10099674" cy="4829175"/>
            <a:chOff x="1398588" y="695325"/>
            <a:chExt cx="10099674" cy="4829175"/>
          </a:xfrm>
        </p:grpSpPr>
        <p:sp>
          <p:nvSpPr>
            <p:cNvPr id="379" name="AutoShape 3">
              <a:extLst>
                <a:ext uri="{FF2B5EF4-FFF2-40B4-BE49-F238E27FC236}">
                  <a16:creationId xmlns:a16="http://schemas.microsoft.com/office/drawing/2014/main" id="{312A3197-874F-4677-BD53-8F26AA8163F8}"/>
                </a:ext>
              </a:extLst>
            </p:cNvPr>
            <p:cNvSpPr>
              <a:spLocks noChangeAspect="1" noChangeArrowheads="1" noTextEdit="1"/>
            </p:cNvSpPr>
            <p:nvPr/>
          </p:nvSpPr>
          <p:spPr bwMode="auto">
            <a:xfrm>
              <a:off x="1398588" y="695325"/>
              <a:ext cx="10034587"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0" name="Rectangle 5">
              <a:extLst>
                <a:ext uri="{FF2B5EF4-FFF2-40B4-BE49-F238E27FC236}">
                  <a16:creationId xmlns:a16="http://schemas.microsoft.com/office/drawing/2014/main" id="{7E2110BF-4C9E-4870-8C60-639C7382B995}"/>
                </a:ext>
              </a:extLst>
            </p:cNvPr>
            <p:cNvSpPr>
              <a:spLocks noChangeArrowheads="1"/>
            </p:cNvSpPr>
            <p:nvPr/>
          </p:nvSpPr>
          <p:spPr bwMode="auto">
            <a:xfrm>
              <a:off x="7673975" y="3865563"/>
              <a:ext cx="1309687" cy="6223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1" name="Rectangle 6">
              <a:extLst>
                <a:ext uri="{FF2B5EF4-FFF2-40B4-BE49-F238E27FC236}">
                  <a16:creationId xmlns:a16="http://schemas.microsoft.com/office/drawing/2014/main" id="{4BB41F80-1F42-40D3-85F8-983EB95CE183}"/>
                </a:ext>
              </a:extLst>
            </p:cNvPr>
            <p:cNvSpPr>
              <a:spLocks noChangeArrowheads="1"/>
            </p:cNvSpPr>
            <p:nvPr/>
          </p:nvSpPr>
          <p:spPr bwMode="auto">
            <a:xfrm>
              <a:off x="7673975" y="3865563"/>
              <a:ext cx="1309687" cy="622300"/>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2" name="Rectangle 7">
              <a:extLst>
                <a:ext uri="{FF2B5EF4-FFF2-40B4-BE49-F238E27FC236}">
                  <a16:creationId xmlns:a16="http://schemas.microsoft.com/office/drawing/2014/main" id="{3E882B60-CD61-4B76-8CC8-4B0D7710E927}"/>
                </a:ext>
              </a:extLst>
            </p:cNvPr>
            <p:cNvSpPr>
              <a:spLocks noChangeArrowheads="1"/>
            </p:cNvSpPr>
            <p:nvPr/>
          </p:nvSpPr>
          <p:spPr bwMode="auto">
            <a:xfrm>
              <a:off x="9250363" y="3636963"/>
              <a:ext cx="1311275" cy="187483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3" name="Rectangle 8">
              <a:extLst>
                <a:ext uri="{FF2B5EF4-FFF2-40B4-BE49-F238E27FC236}">
                  <a16:creationId xmlns:a16="http://schemas.microsoft.com/office/drawing/2014/main" id="{F44A74BB-1152-4E02-AAA9-E0874FBC8695}"/>
                </a:ext>
              </a:extLst>
            </p:cNvPr>
            <p:cNvSpPr>
              <a:spLocks noChangeArrowheads="1"/>
            </p:cNvSpPr>
            <p:nvPr/>
          </p:nvSpPr>
          <p:spPr bwMode="auto">
            <a:xfrm>
              <a:off x="9250363" y="3636963"/>
              <a:ext cx="1311275" cy="187483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4" name="Freeform 9">
              <a:extLst>
                <a:ext uri="{FF2B5EF4-FFF2-40B4-BE49-F238E27FC236}">
                  <a16:creationId xmlns:a16="http://schemas.microsoft.com/office/drawing/2014/main" id="{0D0BAC2E-A517-4B56-A172-D0361CF56590}"/>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5" name="Freeform 10">
              <a:extLst>
                <a:ext uri="{FF2B5EF4-FFF2-40B4-BE49-F238E27FC236}">
                  <a16:creationId xmlns:a16="http://schemas.microsoft.com/office/drawing/2014/main" id="{04C9FAFA-E761-431F-B57A-B229120196E4}"/>
                </a:ext>
              </a:extLst>
            </p:cNvPr>
            <p:cNvSpPr>
              <a:spLocks/>
            </p:cNvSpPr>
            <p:nvPr/>
          </p:nvSpPr>
          <p:spPr bwMode="auto">
            <a:xfrm>
              <a:off x="1641475" y="2146300"/>
              <a:ext cx="962025" cy="363538"/>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6" name="Rectangle 11">
              <a:extLst>
                <a:ext uri="{FF2B5EF4-FFF2-40B4-BE49-F238E27FC236}">
                  <a16:creationId xmlns:a16="http://schemas.microsoft.com/office/drawing/2014/main" id="{A3560169-EA43-40B7-A42C-6F4A5390553B}"/>
                </a:ext>
              </a:extLst>
            </p:cNvPr>
            <p:cNvSpPr>
              <a:spLocks noChangeArrowheads="1"/>
            </p:cNvSpPr>
            <p:nvPr/>
          </p:nvSpPr>
          <p:spPr bwMode="auto">
            <a:xfrm>
              <a:off x="1798638" y="2168525"/>
              <a:ext cx="814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ubject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7" name="Rectangle 12">
              <a:extLst>
                <a:ext uri="{FF2B5EF4-FFF2-40B4-BE49-F238E27FC236}">
                  <a16:creationId xmlns:a16="http://schemas.microsoft.com/office/drawing/2014/main" id="{DAA39A5D-3391-4823-836E-4A9E0DF5799F}"/>
                </a:ext>
              </a:extLst>
            </p:cNvPr>
            <p:cNvSpPr>
              <a:spLocks noChangeArrowheads="1"/>
            </p:cNvSpPr>
            <p:nvPr/>
          </p:nvSpPr>
          <p:spPr bwMode="auto">
            <a:xfrm>
              <a:off x="1889125" y="2320925"/>
              <a:ext cx="5826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ques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88" name="Freeform 13">
              <a:extLst>
                <a:ext uri="{FF2B5EF4-FFF2-40B4-BE49-F238E27FC236}">
                  <a16:creationId xmlns:a16="http://schemas.microsoft.com/office/drawing/2014/main" id="{17DD1426-A766-4104-9AB8-3D592275B4E5}"/>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89" name="Freeform 14">
              <a:extLst>
                <a:ext uri="{FF2B5EF4-FFF2-40B4-BE49-F238E27FC236}">
                  <a16:creationId xmlns:a16="http://schemas.microsoft.com/office/drawing/2014/main" id="{BA40F5F0-FF67-4AA8-99CE-91166A01FFF4}"/>
                </a:ext>
              </a:extLst>
            </p:cNvPr>
            <p:cNvSpPr>
              <a:spLocks/>
            </p:cNvSpPr>
            <p:nvPr/>
          </p:nvSpPr>
          <p:spPr bwMode="auto">
            <a:xfrm>
              <a:off x="4456113" y="719138"/>
              <a:ext cx="963612" cy="363538"/>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05324EC5-6FE5-4DDB-AB47-B0135E7D4E83}"/>
                </a:ext>
              </a:extLst>
            </p:cNvPr>
            <p:cNvSpPr>
              <a:spLocks noChangeArrowheads="1"/>
            </p:cNvSpPr>
            <p:nvPr/>
          </p:nvSpPr>
          <p:spPr bwMode="auto">
            <a:xfrm>
              <a:off x="4784395" y="817169"/>
              <a:ext cx="30620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va </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392" name="Freeform 17">
              <a:extLst>
                <a:ext uri="{FF2B5EF4-FFF2-40B4-BE49-F238E27FC236}">
                  <a16:creationId xmlns:a16="http://schemas.microsoft.com/office/drawing/2014/main" id="{B49B9F1D-5ACD-4A3C-B5A5-BA58493AD670}"/>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3" name="Freeform 18">
              <a:extLst>
                <a:ext uri="{FF2B5EF4-FFF2-40B4-BE49-F238E27FC236}">
                  <a16:creationId xmlns:a16="http://schemas.microsoft.com/office/drawing/2014/main" id="{74DDEF9D-9C92-4DA6-8AAC-9372C0AC8915}"/>
                </a:ext>
              </a:extLst>
            </p:cNvPr>
            <p:cNvSpPr>
              <a:spLocks/>
            </p:cNvSpPr>
            <p:nvPr/>
          </p:nvSpPr>
          <p:spPr bwMode="auto">
            <a:xfrm>
              <a:off x="2800350" y="350361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220BF600-BCC5-44AD-80EA-C028EA332C2E}"/>
                </a:ext>
              </a:extLst>
            </p:cNvPr>
            <p:cNvSpPr>
              <a:spLocks noChangeArrowheads="1"/>
            </p:cNvSpPr>
            <p:nvPr/>
          </p:nvSpPr>
          <p:spPr bwMode="auto">
            <a:xfrm>
              <a:off x="2889250" y="3602038"/>
              <a:ext cx="9286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arch Setting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395" name="Freeform 20">
              <a:extLst>
                <a:ext uri="{FF2B5EF4-FFF2-40B4-BE49-F238E27FC236}">
                  <a16:creationId xmlns:a16="http://schemas.microsoft.com/office/drawing/2014/main" id="{B5A036E5-B959-4AD2-A4B6-9D0B3FD4D052}"/>
                </a:ext>
              </a:extLst>
            </p:cNvPr>
            <p:cNvSpPr>
              <a:spLocks/>
            </p:cNvSpPr>
            <p:nvPr/>
          </p:nvSpPr>
          <p:spPr bwMode="auto">
            <a:xfrm>
              <a:off x="2122488" y="2509838"/>
              <a:ext cx="614362" cy="1174750"/>
            </a:xfrm>
            <a:custGeom>
              <a:avLst/>
              <a:gdLst>
                <a:gd name="T0" fmla="*/ 0 w 387"/>
                <a:gd name="T1" fmla="*/ 0 h 740"/>
                <a:gd name="T2" fmla="*/ 0 w 387"/>
                <a:gd name="T3" fmla="*/ 740 h 740"/>
                <a:gd name="T4" fmla="*/ 387 w 387"/>
                <a:gd name="T5" fmla="*/ 740 h 740"/>
              </a:gdLst>
              <a:ahLst/>
              <a:cxnLst>
                <a:cxn ang="0">
                  <a:pos x="T0" y="T1"/>
                </a:cxn>
                <a:cxn ang="0">
                  <a:pos x="T2" y="T3"/>
                </a:cxn>
                <a:cxn ang="0">
                  <a:pos x="T4" y="T5"/>
                </a:cxn>
              </a:cxnLst>
              <a:rect l="0" t="0" r="r" b="b"/>
              <a:pathLst>
                <a:path w="387" h="740">
                  <a:moveTo>
                    <a:pt x="0" y="0"/>
                  </a:moveTo>
                  <a:lnTo>
                    <a:pt x="0" y="740"/>
                  </a:lnTo>
                  <a:lnTo>
                    <a:pt x="387" y="7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6" name="Freeform 21">
              <a:extLst>
                <a:ext uri="{FF2B5EF4-FFF2-40B4-BE49-F238E27FC236}">
                  <a16:creationId xmlns:a16="http://schemas.microsoft.com/office/drawing/2014/main" id="{386F7393-2FF1-4F33-A46A-7866162016D4}"/>
                </a:ext>
              </a:extLst>
            </p:cNvPr>
            <p:cNvSpPr>
              <a:spLocks/>
            </p:cNvSpPr>
            <p:nvPr/>
          </p:nvSpPr>
          <p:spPr bwMode="auto">
            <a:xfrm>
              <a:off x="2716213" y="364331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7" name="Freeform 22">
              <a:extLst>
                <a:ext uri="{FF2B5EF4-FFF2-40B4-BE49-F238E27FC236}">
                  <a16:creationId xmlns:a16="http://schemas.microsoft.com/office/drawing/2014/main" id="{DDB28F68-0892-403B-8A15-EC9CD65F387C}"/>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8" name="Freeform 23">
              <a:extLst>
                <a:ext uri="{FF2B5EF4-FFF2-40B4-BE49-F238E27FC236}">
                  <a16:creationId xmlns:a16="http://schemas.microsoft.com/office/drawing/2014/main" id="{3F70972B-269E-4EAE-B24F-E98F8F6CB295}"/>
                </a:ext>
              </a:extLst>
            </p:cNvPr>
            <p:cNvSpPr>
              <a:spLocks/>
            </p:cNvSpPr>
            <p:nvPr/>
          </p:nvSpPr>
          <p:spPr bwMode="auto">
            <a:xfrm>
              <a:off x="7038975" y="2120900"/>
              <a:ext cx="962025"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BEC0D033-9197-4371-B9CA-6307BE52C1DC}"/>
                </a:ext>
              </a:extLst>
            </p:cNvPr>
            <p:cNvSpPr>
              <a:spLocks noChangeArrowheads="1"/>
            </p:cNvSpPr>
            <p:nvPr/>
          </p:nvSpPr>
          <p:spPr bwMode="auto">
            <a:xfrm>
              <a:off x="7329488" y="22193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0" name="Freeform 25">
              <a:extLst>
                <a:ext uri="{FF2B5EF4-FFF2-40B4-BE49-F238E27FC236}">
                  <a16:creationId xmlns:a16="http://schemas.microsoft.com/office/drawing/2014/main" id="{077D5001-6FBD-4D30-89C8-4C1B0215486F}"/>
                </a:ext>
              </a:extLst>
            </p:cNvPr>
            <p:cNvSpPr>
              <a:spLocks/>
            </p:cNvSpPr>
            <p:nvPr/>
          </p:nvSpPr>
          <p:spPr bwMode="auto">
            <a:xfrm>
              <a:off x="1535113" y="1344613"/>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1" name="Freeform 26">
              <a:extLst>
                <a:ext uri="{FF2B5EF4-FFF2-40B4-BE49-F238E27FC236}">
                  <a16:creationId xmlns:a16="http://schemas.microsoft.com/office/drawing/2014/main" id="{AEBBC95C-87B4-43F5-902D-A9B4C7AA596A}"/>
                </a:ext>
              </a:extLst>
            </p:cNvPr>
            <p:cNvSpPr>
              <a:spLocks/>
            </p:cNvSpPr>
            <p:nvPr/>
          </p:nvSpPr>
          <p:spPr bwMode="auto">
            <a:xfrm>
              <a:off x="1506538" y="1471613"/>
              <a:ext cx="171450" cy="87313"/>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7B4A562A-84C8-49D0-BD86-BAA66791EF4F}"/>
                </a:ext>
              </a:extLst>
            </p:cNvPr>
            <p:cNvSpPr>
              <a:spLocks/>
            </p:cNvSpPr>
            <p:nvPr/>
          </p:nvSpPr>
          <p:spPr bwMode="auto">
            <a:xfrm>
              <a:off x="1412875" y="1501775"/>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D5456253-45FD-4976-BC12-F95595E80A25}"/>
                </a:ext>
              </a:extLst>
            </p:cNvPr>
            <p:cNvSpPr>
              <a:spLocks/>
            </p:cNvSpPr>
            <p:nvPr/>
          </p:nvSpPr>
          <p:spPr bwMode="auto">
            <a:xfrm>
              <a:off x="1427163" y="1401763"/>
              <a:ext cx="85725" cy="85725"/>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5"/>
                    <a:pt x="104" y="287"/>
                    <a:pt x="135" y="289"/>
                  </a:cubicBezTo>
                  <a:cubicBezTo>
                    <a:pt x="137" y="289"/>
                    <a:pt x="140" y="289"/>
                    <a:pt x="144" y="289"/>
                  </a:cubicBezTo>
                  <a:cubicBezTo>
                    <a:pt x="146" y="289"/>
                    <a:pt x="149" y="289"/>
                    <a:pt x="153" y="289"/>
                  </a:cubicBezTo>
                  <a:cubicBezTo>
                    <a:pt x="185" y="287"/>
                    <a:pt x="214" y="275"/>
                    <a:pt x="237" y="255"/>
                  </a:cubicBezTo>
                  <a:cubicBezTo>
                    <a:pt x="268" y="228"/>
                    <a:pt x="289" y="190"/>
                    <a:pt x="289" y="145"/>
                  </a:cubicBezTo>
                  <a:cubicBezTo>
                    <a:pt x="289" y="66"/>
                    <a:pt x="225" y="0"/>
                    <a:pt x="144"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4" name="Rectangle 29">
              <a:extLst>
                <a:ext uri="{FF2B5EF4-FFF2-40B4-BE49-F238E27FC236}">
                  <a16:creationId xmlns:a16="http://schemas.microsoft.com/office/drawing/2014/main" id="{D379F553-0F27-4D81-A71E-7530C5C192C9}"/>
                </a:ext>
              </a:extLst>
            </p:cNvPr>
            <p:cNvSpPr>
              <a:spLocks noChangeArrowheads="1"/>
            </p:cNvSpPr>
            <p:nvPr/>
          </p:nvSpPr>
          <p:spPr bwMode="auto">
            <a:xfrm>
              <a:off x="1758950" y="1354138"/>
              <a:ext cx="22383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ata Subject Reques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05" name="Freeform 35">
              <a:extLst>
                <a:ext uri="{FF2B5EF4-FFF2-40B4-BE49-F238E27FC236}">
                  <a16:creationId xmlns:a16="http://schemas.microsoft.com/office/drawing/2014/main" id="{8ED72C0B-164B-4819-87E2-34CBB92786AE}"/>
                </a:ext>
              </a:extLst>
            </p:cNvPr>
            <p:cNvSpPr>
              <a:spLocks/>
            </p:cNvSpPr>
            <p:nvPr/>
          </p:nvSpPr>
          <p:spPr bwMode="auto">
            <a:xfrm>
              <a:off x="6500813" y="1339850"/>
              <a:ext cx="114300" cy="115888"/>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3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6"/>
                    <a:pt x="221" y="0"/>
                    <a:pt x="194" y="0"/>
                  </a:cubicBezTo>
                  <a:cubicBezTo>
                    <a:pt x="167" y="0"/>
                    <a:pt x="138" y="6"/>
                    <a:pt x="115" y="18"/>
                  </a:cubicBezTo>
                  <a:cubicBezTo>
                    <a:pt x="50" y="47"/>
                    <a:pt x="3" y="115"/>
                    <a:pt x="3"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6" name="Freeform 36">
              <a:extLst>
                <a:ext uri="{FF2B5EF4-FFF2-40B4-BE49-F238E27FC236}">
                  <a16:creationId xmlns:a16="http://schemas.microsoft.com/office/drawing/2014/main" id="{3B25A61D-FDDD-451B-A26B-27398161A578}"/>
                </a:ext>
              </a:extLst>
            </p:cNvPr>
            <p:cNvSpPr>
              <a:spLocks/>
            </p:cNvSpPr>
            <p:nvPr/>
          </p:nvSpPr>
          <p:spPr bwMode="auto">
            <a:xfrm>
              <a:off x="6472238" y="146843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7" name="Freeform 37">
              <a:extLst>
                <a:ext uri="{FF2B5EF4-FFF2-40B4-BE49-F238E27FC236}">
                  <a16:creationId xmlns:a16="http://schemas.microsoft.com/office/drawing/2014/main" id="{1FCDDE1C-4D3C-4B78-8B05-8BE50593A7F9}"/>
                </a:ext>
              </a:extLst>
            </p:cNvPr>
            <p:cNvSpPr>
              <a:spLocks/>
            </p:cNvSpPr>
            <p:nvPr/>
          </p:nvSpPr>
          <p:spPr bwMode="auto">
            <a:xfrm>
              <a:off x="6378575" y="1497013"/>
              <a:ext cx="80962" cy="58738"/>
            </a:xfrm>
            <a:custGeom>
              <a:avLst/>
              <a:gdLst>
                <a:gd name="T0" fmla="*/ 0 w 268"/>
                <a:gd name="T1" fmla="*/ 194 h 194"/>
                <a:gd name="T2" fmla="*/ 226 w 268"/>
                <a:gd name="T3" fmla="*/ 194 h 194"/>
                <a:gd name="T4" fmla="*/ 268 w 268"/>
                <a:gd name="T5" fmla="*/ 19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6" y="194"/>
                  </a:lnTo>
                  <a:cubicBezTo>
                    <a:pt x="226" y="131"/>
                    <a:pt x="241" y="73"/>
                    <a:pt x="268" y="19"/>
                  </a:cubicBezTo>
                  <a:cubicBezTo>
                    <a:pt x="246" y="7"/>
                    <a:pt x="219" y="3"/>
                    <a:pt x="192" y="3"/>
                  </a:cubicBezTo>
                  <a:cubicBezTo>
                    <a:pt x="86" y="0"/>
                    <a:pt x="0" y="88"/>
                    <a:pt x="0" y="194"/>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8" name="Freeform 38">
              <a:extLst>
                <a:ext uri="{FF2B5EF4-FFF2-40B4-BE49-F238E27FC236}">
                  <a16:creationId xmlns:a16="http://schemas.microsoft.com/office/drawing/2014/main" id="{39EFFA04-D44A-4A2F-9436-BCE9F50BEF99}"/>
                </a:ext>
              </a:extLst>
            </p:cNvPr>
            <p:cNvSpPr>
              <a:spLocks/>
            </p:cNvSpPr>
            <p:nvPr/>
          </p:nvSpPr>
          <p:spPr bwMode="auto">
            <a:xfrm>
              <a:off x="6392863" y="1398588"/>
              <a:ext cx="85725"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9" name="Rectangle 39">
              <a:extLst>
                <a:ext uri="{FF2B5EF4-FFF2-40B4-BE49-F238E27FC236}">
                  <a16:creationId xmlns:a16="http://schemas.microsoft.com/office/drawing/2014/main" id="{43799542-38F8-4AB3-8BA4-EA1F5DB79309}"/>
                </a:ext>
              </a:extLst>
            </p:cNvPr>
            <p:cNvSpPr>
              <a:spLocks noChangeArrowheads="1"/>
            </p:cNvSpPr>
            <p:nvPr/>
          </p:nvSpPr>
          <p:spPr bwMode="auto">
            <a:xfrm>
              <a:off x="6751638" y="1370013"/>
              <a:ext cx="22161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ivacy Management Administrato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0" name="Line 40">
              <a:extLst>
                <a:ext uri="{FF2B5EF4-FFF2-40B4-BE49-F238E27FC236}">
                  <a16:creationId xmlns:a16="http://schemas.microsoft.com/office/drawing/2014/main" id="{541D0E5D-5869-4413-8870-422920D3A15C}"/>
                </a:ext>
              </a:extLst>
            </p:cNvPr>
            <p:cNvSpPr>
              <a:spLocks noChangeShapeType="1"/>
            </p:cNvSpPr>
            <p:nvPr/>
          </p:nvSpPr>
          <p:spPr bwMode="auto">
            <a:xfrm>
              <a:off x="5272088" y="1082675"/>
              <a:ext cx="1858962" cy="10080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1" name="Freeform 41">
              <a:extLst>
                <a:ext uri="{FF2B5EF4-FFF2-40B4-BE49-F238E27FC236}">
                  <a16:creationId xmlns:a16="http://schemas.microsoft.com/office/drawing/2014/main" id="{0701E70D-899F-41F3-A428-F6EE7EF4F55F}"/>
                </a:ext>
              </a:extLst>
            </p:cNvPr>
            <p:cNvSpPr>
              <a:spLocks/>
            </p:cNvSpPr>
            <p:nvPr/>
          </p:nvSpPr>
          <p:spPr bwMode="auto">
            <a:xfrm>
              <a:off x="7094538" y="2044700"/>
              <a:ext cx="92075" cy="76200"/>
            </a:xfrm>
            <a:custGeom>
              <a:avLst/>
              <a:gdLst>
                <a:gd name="T0" fmla="*/ 312 w 312"/>
                <a:gd name="T1" fmla="*/ 255 h 255"/>
                <a:gd name="T2" fmla="*/ 0 w 312"/>
                <a:gd name="T3" fmla="*/ 245 h 255"/>
                <a:gd name="T4" fmla="*/ 133 w 312"/>
                <a:gd name="T5" fmla="*/ 0 h 255"/>
                <a:gd name="T6" fmla="*/ 312 w 312"/>
                <a:gd name="T7" fmla="*/ 255 h 255"/>
              </a:gdLst>
              <a:ahLst/>
              <a:cxnLst>
                <a:cxn ang="0">
                  <a:pos x="T0" y="T1"/>
                </a:cxn>
                <a:cxn ang="0">
                  <a:pos x="T2" y="T3"/>
                </a:cxn>
                <a:cxn ang="0">
                  <a:pos x="T4" y="T5"/>
                </a:cxn>
                <a:cxn ang="0">
                  <a:pos x="T6" y="T7"/>
                </a:cxn>
              </a:cxnLst>
              <a:rect l="0" t="0" r="r" b="b"/>
              <a:pathLst>
                <a:path w="312" h="255">
                  <a:moveTo>
                    <a:pt x="312" y="255"/>
                  </a:moveTo>
                  <a:lnTo>
                    <a:pt x="0" y="245"/>
                  </a:lnTo>
                  <a:cubicBezTo>
                    <a:pt x="80" y="189"/>
                    <a:pt x="130" y="98"/>
                    <a:pt x="133" y="0"/>
                  </a:cubicBezTo>
                  <a:lnTo>
                    <a:pt x="312" y="25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2" name="Line 42">
              <a:extLst>
                <a:ext uri="{FF2B5EF4-FFF2-40B4-BE49-F238E27FC236}">
                  <a16:creationId xmlns:a16="http://schemas.microsoft.com/office/drawing/2014/main" id="{43A0F8A1-4187-4ED6-8645-0F4C4CF9DE8F}"/>
                </a:ext>
              </a:extLst>
            </p:cNvPr>
            <p:cNvSpPr>
              <a:spLocks noChangeShapeType="1"/>
            </p:cNvSpPr>
            <p:nvPr/>
          </p:nvSpPr>
          <p:spPr bwMode="auto">
            <a:xfrm flipH="1">
              <a:off x="2536825" y="1082675"/>
              <a:ext cx="2043112" cy="1035050"/>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3" name="Freeform 43">
              <a:extLst>
                <a:ext uri="{FF2B5EF4-FFF2-40B4-BE49-F238E27FC236}">
                  <a16:creationId xmlns:a16="http://schemas.microsoft.com/office/drawing/2014/main" id="{05DBAE7B-A2F7-43C8-9EBF-467FC6AC2BCA}"/>
                </a:ext>
              </a:extLst>
            </p:cNvPr>
            <p:cNvSpPr>
              <a:spLocks/>
            </p:cNvSpPr>
            <p:nvPr/>
          </p:nvSpPr>
          <p:spPr bwMode="auto">
            <a:xfrm>
              <a:off x="2479675" y="2071688"/>
              <a:ext cx="93662" cy="74613"/>
            </a:xfrm>
            <a:custGeom>
              <a:avLst/>
              <a:gdLst>
                <a:gd name="T0" fmla="*/ 0 w 312"/>
                <a:gd name="T1" fmla="*/ 251 h 251"/>
                <a:gd name="T2" fmla="*/ 186 w 312"/>
                <a:gd name="T3" fmla="*/ 0 h 251"/>
                <a:gd name="T4" fmla="*/ 312 w 312"/>
                <a:gd name="T5" fmla="*/ 249 h 251"/>
                <a:gd name="T6" fmla="*/ 0 w 312"/>
                <a:gd name="T7" fmla="*/ 251 h 251"/>
              </a:gdLst>
              <a:ahLst/>
              <a:cxnLst>
                <a:cxn ang="0">
                  <a:pos x="T0" y="T1"/>
                </a:cxn>
                <a:cxn ang="0">
                  <a:pos x="T2" y="T3"/>
                </a:cxn>
                <a:cxn ang="0">
                  <a:pos x="T4" y="T5"/>
                </a:cxn>
                <a:cxn ang="0">
                  <a:pos x="T6" y="T7"/>
                </a:cxn>
              </a:cxnLst>
              <a:rect l="0" t="0" r="r" b="b"/>
              <a:pathLst>
                <a:path w="312" h="251">
                  <a:moveTo>
                    <a:pt x="0" y="251"/>
                  </a:moveTo>
                  <a:lnTo>
                    <a:pt x="186" y="0"/>
                  </a:lnTo>
                  <a:cubicBezTo>
                    <a:pt x="187" y="98"/>
                    <a:pt x="234" y="191"/>
                    <a:pt x="312" y="249"/>
                  </a:cubicBezTo>
                  <a:lnTo>
                    <a:pt x="0" y="251"/>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4" name="Freeform 44">
              <a:extLst>
                <a:ext uri="{FF2B5EF4-FFF2-40B4-BE49-F238E27FC236}">
                  <a16:creationId xmlns:a16="http://schemas.microsoft.com/office/drawing/2014/main" id="{9581DAB7-D5C3-4985-9A0D-C8E084D6C5DF}"/>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5" name="Freeform 45">
              <a:extLst>
                <a:ext uri="{FF2B5EF4-FFF2-40B4-BE49-F238E27FC236}">
                  <a16:creationId xmlns:a16="http://schemas.microsoft.com/office/drawing/2014/main" id="{4A851FF9-895D-440A-8C8B-2AB7FFAB944D}"/>
                </a:ext>
              </a:extLst>
            </p:cNvPr>
            <p:cNvSpPr>
              <a:spLocks/>
            </p:cNvSpPr>
            <p:nvPr/>
          </p:nvSpPr>
          <p:spPr bwMode="auto">
            <a:xfrm>
              <a:off x="2800350" y="4117975"/>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5"/>
                    <a:pt x="3088" y="0"/>
                    <a:pt x="2909" y="0"/>
                  </a:cubicBezTo>
                  <a:lnTo>
                    <a:pt x="324" y="0"/>
                  </a:lnTo>
                  <a:cubicBezTo>
                    <a:pt x="145" y="0"/>
                    <a:pt x="0" y="145"/>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6" name="Rectangle 46">
              <a:extLst>
                <a:ext uri="{FF2B5EF4-FFF2-40B4-BE49-F238E27FC236}">
                  <a16:creationId xmlns:a16="http://schemas.microsoft.com/office/drawing/2014/main" id="{2E1CC051-C7A3-461B-87A1-4EB012910038}"/>
                </a:ext>
              </a:extLst>
            </p:cNvPr>
            <p:cNvSpPr>
              <a:spLocks noChangeArrowheads="1"/>
            </p:cNvSpPr>
            <p:nvPr/>
          </p:nvSpPr>
          <p:spPr bwMode="auto">
            <a:xfrm>
              <a:off x="2913063" y="4146550"/>
              <a:ext cx="877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collect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7" name="Rectangle 47">
              <a:extLst>
                <a:ext uri="{FF2B5EF4-FFF2-40B4-BE49-F238E27FC236}">
                  <a16:creationId xmlns:a16="http://schemas.microsoft.com/office/drawing/2014/main" id="{6B6B6709-319D-4A45-98A4-22E1DEB99389}"/>
                </a:ext>
              </a:extLst>
            </p:cNvPr>
            <p:cNvSpPr>
              <a:spLocks noChangeArrowheads="1"/>
            </p:cNvSpPr>
            <p:nvPr/>
          </p:nvSpPr>
          <p:spPr bwMode="auto">
            <a:xfrm>
              <a:off x="2932113" y="4316413"/>
              <a:ext cx="7429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les &amp; Messag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18" name="Freeform 48">
              <a:extLst>
                <a:ext uri="{FF2B5EF4-FFF2-40B4-BE49-F238E27FC236}">
                  <a16:creationId xmlns:a16="http://schemas.microsoft.com/office/drawing/2014/main" id="{3828AFA2-3386-403E-A776-7F5AF1040F60}"/>
                </a:ext>
              </a:extLst>
            </p:cNvPr>
            <p:cNvSpPr>
              <a:spLocks noEditPoints="1"/>
            </p:cNvSpPr>
            <p:nvPr/>
          </p:nvSpPr>
          <p:spPr bwMode="auto">
            <a:xfrm>
              <a:off x="2117725" y="2505075"/>
              <a:ext cx="623887" cy="1798638"/>
            </a:xfrm>
            <a:custGeom>
              <a:avLst/>
              <a:gdLst>
                <a:gd name="T0" fmla="*/ 16 w 2094"/>
                <a:gd name="T1" fmla="*/ 256 h 6039"/>
                <a:gd name="T2" fmla="*/ 16 w 2094"/>
                <a:gd name="T3" fmla="*/ 0 h 6039"/>
                <a:gd name="T4" fmla="*/ 32 w 2094"/>
                <a:gd name="T5" fmla="*/ 624 h 6039"/>
                <a:gd name="T6" fmla="*/ 0 w 2094"/>
                <a:gd name="T7" fmla="*/ 400 h 6039"/>
                <a:gd name="T8" fmla="*/ 32 w 2094"/>
                <a:gd name="T9" fmla="*/ 784 h 6039"/>
                <a:gd name="T10" fmla="*/ 0 w 2094"/>
                <a:gd name="T11" fmla="*/ 1008 h 6039"/>
                <a:gd name="T12" fmla="*/ 32 w 2094"/>
                <a:gd name="T13" fmla="*/ 784 h 6039"/>
                <a:gd name="T14" fmla="*/ 16 w 2094"/>
                <a:gd name="T15" fmla="*/ 1408 h 6039"/>
                <a:gd name="T16" fmla="*/ 16 w 2094"/>
                <a:gd name="T17" fmla="*/ 1152 h 6039"/>
                <a:gd name="T18" fmla="*/ 32 w 2094"/>
                <a:gd name="T19" fmla="*/ 1776 h 6039"/>
                <a:gd name="T20" fmla="*/ 0 w 2094"/>
                <a:gd name="T21" fmla="*/ 1552 h 6039"/>
                <a:gd name="T22" fmla="*/ 32 w 2094"/>
                <a:gd name="T23" fmla="*/ 1936 h 6039"/>
                <a:gd name="T24" fmla="*/ 0 w 2094"/>
                <a:gd name="T25" fmla="*/ 2160 h 6039"/>
                <a:gd name="T26" fmla="*/ 32 w 2094"/>
                <a:gd name="T27" fmla="*/ 1936 h 6039"/>
                <a:gd name="T28" fmla="*/ 16 w 2094"/>
                <a:gd name="T29" fmla="*/ 2560 h 6039"/>
                <a:gd name="T30" fmla="*/ 16 w 2094"/>
                <a:gd name="T31" fmla="*/ 2304 h 6039"/>
                <a:gd name="T32" fmla="*/ 32 w 2094"/>
                <a:gd name="T33" fmla="*/ 2928 h 6039"/>
                <a:gd name="T34" fmla="*/ 0 w 2094"/>
                <a:gd name="T35" fmla="*/ 2704 h 6039"/>
                <a:gd name="T36" fmla="*/ 32 w 2094"/>
                <a:gd name="T37" fmla="*/ 3088 h 6039"/>
                <a:gd name="T38" fmla="*/ 0 w 2094"/>
                <a:gd name="T39" fmla="*/ 3312 h 6039"/>
                <a:gd name="T40" fmla="*/ 32 w 2094"/>
                <a:gd name="T41" fmla="*/ 3088 h 6039"/>
                <a:gd name="T42" fmla="*/ 16 w 2094"/>
                <a:gd name="T43" fmla="*/ 3712 h 6039"/>
                <a:gd name="T44" fmla="*/ 16 w 2094"/>
                <a:gd name="T45" fmla="*/ 3456 h 6039"/>
                <a:gd name="T46" fmla="*/ 32 w 2094"/>
                <a:gd name="T47" fmla="*/ 4080 h 6039"/>
                <a:gd name="T48" fmla="*/ 0 w 2094"/>
                <a:gd name="T49" fmla="*/ 3856 h 6039"/>
                <a:gd name="T50" fmla="*/ 32 w 2094"/>
                <a:gd name="T51" fmla="*/ 4240 h 6039"/>
                <a:gd name="T52" fmla="*/ 0 w 2094"/>
                <a:gd name="T53" fmla="*/ 4464 h 6039"/>
                <a:gd name="T54" fmla="*/ 32 w 2094"/>
                <a:gd name="T55" fmla="*/ 4240 h 6039"/>
                <a:gd name="T56" fmla="*/ 16 w 2094"/>
                <a:gd name="T57" fmla="*/ 4864 h 6039"/>
                <a:gd name="T58" fmla="*/ 16 w 2094"/>
                <a:gd name="T59" fmla="*/ 4608 h 6039"/>
                <a:gd name="T60" fmla="*/ 32 w 2094"/>
                <a:gd name="T61" fmla="*/ 5232 h 6039"/>
                <a:gd name="T62" fmla="*/ 0 w 2094"/>
                <a:gd name="T63" fmla="*/ 5008 h 6039"/>
                <a:gd name="T64" fmla="*/ 32 w 2094"/>
                <a:gd name="T65" fmla="*/ 5392 h 6039"/>
                <a:gd name="T66" fmla="*/ 0 w 2094"/>
                <a:gd name="T67" fmla="*/ 5616 h 6039"/>
                <a:gd name="T68" fmla="*/ 32 w 2094"/>
                <a:gd name="T69" fmla="*/ 5392 h 6039"/>
                <a:gd name="T70" fmla="*/ 16 w 2094"/>
                <a:gd name="T71" fmla="*/ 6016 h 6039"/>
                <a:gd name="T72" fmla="*/ 16 w 2094"/>
                <a:gd name="T73" fmla="*/ 5760 h 6039"/>
                <a:gd name="T74" fmla="*/ 377 w 2094"/>
                <a:gd name="T75" fmla="*/ 6007 h 6039"/>
                <a:gd name="T76" fmla="*/ 153 w 2094"/>
                <a:gd name="T77" fmla="*/ 6039 h 6039"/>
                <a:gd name="T78" fmla="*/ 537 w 2094"/>
                <a:gd name="T79" fmla="*/ 6007 h 6039"/>
                <a:gd name="T80" fmla="*/ 761 w 2094"/>
                <a:gd name="T81" fmla="*/ 6039 h 6039"/>
                <a:gd name="T82" fmla="*/ 537 w 2094"/>
                <a:gd name="T83" fmla="*/ 6007 h 6039"/>
                <a:gd name="T84" fmla="*/ 1161 w 2094"/>
                <a:gd name="T85" fmla="*/ 6023 h 6039"/>
                <a:gd name="T86" fmla="*/ 905 w 2094"/>
                <a:gd name="T87" fmla="*/ 6023 h 6039"/>
                <a:gd name="T88" fmla="*/ 1529 w 2094"/>
                <a:gd name="T89" fmla="*/ 6007 h 6039"/>
                <a:gd name="T90" fmla="*/ 1305 w 2094"/>
                <a:gd name="T91" fmla="*/ 6039 h 6039"/>
                <a:gd name="T92" fmla="*/ 1689 w 2094"/>
                <a:gd name="T93" fmla="*/ 6007 h 6039"/>
                <a:gd name="T94" fmla="*/ 1913 w 2094"/>
                <a:gd name="T95" fmla="*/ 6039 h 6039"/>
                <a:gd name="T96" fmla="*/ 1689 w 2094"/>
                <a:gd name="T97" fmla="*/ 6007 h 6039"/>
                <a:gd name="T98" fmla="*/ 2094 w 2094"/>
                <a:gd name="T99" fmla="*/ 6023 h 6039"/>
                <a:gd name="T100" fmla="*/ 2057 w 2094"/>
                <a:gd name="T101" fmla="*/ 6023 h 6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4" h="6039">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153" y="6007"/>
                  </a:moveTo>
                  <a:lnTo>
                    <a:pt x="377" y="6007"/>
                  </a:lnTo>
                  <a:cubicBezTo>
                    <a:pt x="386" y="6007"/>
                    <a:pt x="393" y="6014"/>
                    <a:pt x="393" y="6023"/>
                  </a:cubicBezTo>
                  <a:cubicBezTo>
                    <a:pt x="393" y="6032"/>
                    <a:pt x="386" y="6039"/>
                    <a:pt x="377" y="6039"/>
                  </a:cubicBezTo>
                  <a:lnTo>
                    <a:pt x="153" y="6039"/>
                  </a:lnTo>
                  <a:cubicBezTo>
                    <a:pt x="145" y="6039"/>
                    <a:pt x="137" y="6032"/>
                    <a:pt x="137" y="6023"/>
                  </a:cubicBezTo>
                  <a:cubicBezTo>
                    <a:pt x="137" y="6014"/>
                    <a:pt x="145" y="6007"/>
                    <a:pt x="153" y="6007"/>
                  </a:cubicBezTo>
                  <a:close/>
                  <a:moveTo>
                    <a:pt x="537" y="6007"/>
                  </a:moveTo>
                  <a:lnTo>
                    <a:pt x="761" y="6007"/>
                  </a:lnTo>
                  <a:cubicBezTo>
                    <a:pt x="770" y="6007"/>
                    <a:pt x="777" y="6014"/>
                    <a:pt x="777" y="6023"/>
                  </a:cubicBezTo>
                  <a:cubicBezTo>
                    <a:pt x="777" y="6032"/>
                    <a:pt x="770" y="6039"/>
                    <a:pt x="761" y="6039"/>
                  </a:cubicBezTo>
                  <a:lnTo>
                    <a:pt x="537" y="6039"/>
                  </a:lnTo>
                  <a:cubicBezTo>
                    <a:pt x="529" y="6039"/>
                    <a:pt x="521" y="6032"/>
                    <a:pt x="521" y="6023"/>
                  </a:cubicBezTo>
                  <a:cubicBezTo>
                    <a:pt x="521" y="6014"/>
                    <a:pt x="529" y="6007"/>
                    <a:pt x="537" y="6007"/>
                  </a:cubicBezTo>
                  <a:close/>
                  <a:moveTo>
                    <a:pt x="921" y="6007"/>
                  </a:moveTo>
                  <a:lnTo>
                    <a:pt x="1145" y="6007"/>
                  </a:lnTo>
                  <a:cubicBezTo>
                    <a:pt x="1154" y="6007"/>
                    <a:pt x="1161" y="6014"/>
                    <a:pt x="1161" y="6023"/>
                  </a:cubicBezTo>
                  <a:cubicBezTo>
                    <a:pt x="1161" y="6032"/>
                    <a:pt x="1154" y="6039"/>
                    <a:pt x="1145" y="6039"/>
                  </a:cubicBezTo>
                  <a:lnTo>
                    <a:pt x="921" y="6039"/>
                  </a:lnTo>
                  <a:cubicBezTo>
                    <a:pt x="913" y="6039"/>
                    <a:pt x="905" y="6032"/>
                    <a:pt x="905" y="6023"/>
                  </a:cubicBezTo>
                  <a:cubicBezTo>
                    <a:pt x="905" y="6014"/>
                    <a:pt x="913" y="6007"/>
                    <a:pt x="921" y="6007"/>
                  </a:cubicBezTo>
                  <a:close/>
                  <a:moveTo>
                    <a:pt x="1305" y="6007"/>
                  </a:moveTo>
                  <a:lnTo>
                    <a:pt x="1529" y="6007"/>
                  </a:lnTo>
                  <a:cubicBezTo>
                    <a:pt x="1538" y="6007"/>
                    <a:pt x="1545" y="6014"/>
                    <a:pt x="1545" y="6023"/>
                  </a:cubicBezTo>
                  <a:cubicBezTo>
                    <a:pt x="1545" y="6032"/>
                    <a:pt x="1538" y="6039"/>
                    <a:pt x="1529" y="6039"/>
                  </a:cubicBezTo>
                  <a:lnTo>
                    <a:pt x="1305" y="6039"/>
                  </a:lnTo>
                  <a:cubicBezTo>
                    <a:pt x="1297" y="6039"/>
                    <a:pt x="1289" y="6032"/>
                    <a:pt x="1289" y="6023"/>
                  </a:cubicBezTo>
                  <a:cubicBezTo>
                    <a:pt x="1289" y="6014"/>
                    <a:pt x="1297" y="6007"/>
                    <a:pt x="1305" y="6007"/>
                  </a:cubicBezTo>
                  <a:close/>
                  <a:moveTo>
                    <a:pt x="1689" y="6007"/>
                  </a:moveTo>
                  <a:lnTo>
                    <a:pt x="1913" y="6007"/>
                  </a:lnTo>
                  <a:cubicBezTo>
                    <a:pt x="1922" y="6007"/>
                    <a:pt x="1929" y="6014"/>
                    <a:pt x="1929" y="6023"/>
                  </a:cubicBezTo>
                  <a:cubicBezTo>
                    <a:pt x="1929" y="6032"/>
                    <a:pt x="1922" y="6039"/>
                    <a:pt x="1913" y="6039"/>
                  </a:cubicBezTo>
                  <a:lnTo>
                    <a:pt x="1689" y="6039"/>
                  </a:lnTo>
                  <a:cubicBezTo>
                    <a:pt x="1681" y="6039"/>
                    <a:pt x="1673" y="6032"/>
                    <a:pt x="1673" y="6023"/>
                  </a:cubicBezTo>
                  <a:cubicBezTo>
                    <a:pt x="1673" y="6014"/>
                    <a:pt x="1681" y="6007"/>
                    <a:pt x="1689" y="6007"/>
                  </a:cubicBezTo>
                  <a:close/>
                  <a:moveTo>
                    <a:pt x="2073" y="6007"/>
                  </a:moveTo>
                  <a:lnTo>
                    <a:pt x="2078" y="6007"/>
                  </a:lnTo>
                  <a:cubicBezTo>
                    <a:pt x="2087" y="6007"/>
                    <a:pt x="2094" y="6014"/>
                    <a:pt x="2094" y="6023"/>
                  </a:cubicBezTo>
                  <a:cubicBezTo>
                    <a:pt x="2094" y="6032"/>
                    <a:pt x="2087" y="6039"/>
                    <a:pt x="2078" y="6039"/>
                  </a:cubicBezTo>
                  <a:lnTo>
                    <a:pt x="2073" y="6039"/>
                  </a:lnTo>
                  <a:cubicBezTo>
                    <a:pt x="2065" y="6039"/>
                    <a:pt x="2057" y="6032"/>
                    <a:pt x="2057" y="6023"/>
                  </a:cubicBezTo>
                  <a:cubicBezTo>
                    <a:pt x="2057" y="6014"/>
                    <a:pt x="2065" y="6007"/>
                    <a:pt x="2073" y="600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9" name="Freeform 49">
              <a:extLst>
                <a:ext uri="{FF2B5EF4-FFF2-40B4-BE49-F238E27FC236}">
                  <a16:creationId xmlns:a16="http://schemas.microsoft.com/office/drawing/2014/main" id="{7B03FD2E-87AC-476E-8A0B-65DF8FC7A54E}"/>
                </a:ext>
              </a:extLst>
            </p:cNvPr>
            <p:cNvSpPr>
              <a:spLocks/>
            </p:cNvSpPr>
            <p:nvPr/>
          </p:nvSpPr>
          <p:spPr bwMode="auto">
            <a:xfrm>
              <a:off x="2716213" y="4257675"/>
              <a:ext cx="84137"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0" name="Freeform 50">
              <a:extLst>
                <a:ext uri="{FF2B5EF4-FFF2-40B4-BE49-F238E27FC236}">
                  <a16:creationId xmlns:a16="http://schemas.microsoft.com/office/drawing/2014/main" id="{768BB8EB-0CAF-4A23-BDE6-D373512670EF}"/>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1" name="Freeform 51">
              <a:extLst>
                <a:ext uri="{FF2B5EF4-FFF2-40B4-BE49-F238E27FC236}">
                  <a16:creationId xmlns:a16="http://schemas.microsoft.com/office/drawing/2014/main" id="{FED5EDDC-D01A-4D39-815C-5AEFAA01BE91}"/>
                </a:ext>
              </a:extLst>
            </p:cNvPr>
            <p:cNvSpPr>
              <a:spLocks/>
            </p:cNvSpPr>
            <p:nvPr/>
          </p:nvSpPr>
          <p:spPr bwMode="auto">
            <a:xfrm>
              <a:off x="2800350" y="470376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3"/>
                  </a:lnTo>
                  <a:cubicBezTo>
                    <a:pt x="3232" y="145"/>
                    <a:pt x="3088" y="0"/>
                    <a:pt x="2909" y="0"/>
                  </a:cubicBezTo>
                  <a:lnTo>
                    <a:pt x="324" y="0"/>
                  </a:lnTo>
                  <a:cubicBezTo>
                    <a:pt x="145" y="0"/>
                    <a:pt x="0" y="145"/>
                    <a:pt x="0" y="323"/>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2" name="Rectangle 52">
              <a:extLst>
                <a:ext uri="{FF2B5EF4-FFF2-40B4-BE49-F238E27FC236}">
                  <a16:creationId xmlns:a16="http://schemas.microsoft.com/office/drawing/2014/main" id="{69AFD363-BA99-4D5B-BCD1-7E785BFD3012}"/>
                </a:ext>
              </a:extLst>
            </p:cNvPr>
            <p:cNvSpPr>
              <a:spLocks noChangeArrowheads="1"/>
            </p:cNvSpPr>
            <p:nvPr/>
          </p:nvSpPr>
          <p:spPr bwMode="auto">
            <a:xfrm>
              <a:off x="3082925" y="4800600"/>
              <a:ext cx="5095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po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3" name="Freeform 53">
              <a:extLst>
                <a:ext uri="{FF2B5EF4-FFF2-40B4-BE49-F238E27FC236}">
                  <a16:creationId xmlns:a16="http://schemas.microsoft.com/office/drawing/2014/main" id="{E805BE46-A9FF-4E56-BE98-DB12165D60DA}"/>
                </a:ext>
              </a:extLst>
            </p:cNvPr>
            <p:cNvSpPr>
              <a:spLocks noEditPoints="1"/>
            </p:cNvSpPr>
            <p:nvPr/>
          </p:nvSpPr>
          <p:spPr bwMode="auto">
            <a:xfrm>
              <a:off x="2117725" y="2505075"/>
              <a:ext cx="623887" cy="2384425"/>
            </a:xfrm>
            <a:custGeom>
              <a:avLst/>
              <a:gdLst>
                <a:gd name="T0" fmla="*/ 16 w 2094"/>
                <a:gd name="T1" fmla="*/ 256 h 8004"/>
                <a:gd name="T2" fmla="*/ 16 w 2094"/>
                <a:gd name="T3" fmla="*/ 0 h 8004"/>
                <a:gd name="T4" fmla="*/ 32 w 2094"/>
                <a:gd name="T5" fmla="*/ 624 h 8004"/>
                <a:gd name="T6" fmla="*/ 0 w 2094"/>
                <a:gd name="T7" fmla="*/ 400 h 8004"/>
                <a:gd name="T8" fmla="*/ 32 w 2094"/>
                <a:gd name="T9" fmla="*/ 784 h 8004"/>
                <a:gd name="T10" fmla="*/ 0 w 2094"/>
                <a:gd name="T11" fmla="*/ 1008 h 8004"/>
                <a:gd name="T12" fmla="*/ 32 w 2094"/>
                <a:gd name="T13" fmla="*/ 784 h 8004"/>
                <a:gd name="T14" fmla="*/ 16 w 2094"/>
                <a:gd name="T15" fmla="*/ 1408 h 8004"/>
                <a:gd name="T16" fmla="*/ 16 w 2094"/>
                <a:gd name="T17" fmla="*/ 1152 h 8004"/>
                <a:gd name="T18" fmla="*/ 32 w 2094"/>
                <a:gd name="T19" fmla="*/ 1776 h 8004"/>
                <a:gd name="T20" fmla="*/ 0 w 2094"/>
                <a:gd name="T21" fmla="*/ 1552 h 8004"/>
                <a:gd name="T22" fmla="*/ 32 w 2094"/>
                <a:gd name="T23" fmla="*/ 1936 h 8004"/>
                <a:gd name="T24" fmla="*/ 0 w 2094"/>
                <a:gd name="T25" fmla="*/ 2160 h 8004"/>
                <a:gd name="T26" fmla="*/ 32 w 2094"/>
                <a:gd name="T27" fmla="*/ 1936 h 8004"/>
                <a:gd name="T28" fmla="*/ 16 w 2094"/>
                <a:gd name="T29" fmla="*/ 2560 h 8004"/>
                <a:gd name="T30" fmla="*/ 16 w 2094"/>
                <a:gd name="T31" fmla="*/ 2304 h 8004"/>
                <a:gd name="T32" fmla="*/ 32 w 2094"/>
                <a:gd name="T33" fmla="*/ 2928 h 8004"/>
                <a:gd name="T34" fmla="*/ 0 w 2094"/>
                <a:gd name="T35" fmla="*/ 2704 h 8004"/>
                <a:gd name="T36" fmla="*/ 32 w 2094"/>
                <a:gd name="T37" fmla="*/ 3088 h 8004"/>
                <a:gd name="T38" fmla="*/ 0 w 2094"/>
                <a:gd name="T39" fmla="*/ 3312 h 8004"/>
                <a:gd name="T40" fmla="*/ 32 w 2094"/>
                <a:gd name="T41" fmla="*/ 3088 h 8004"/>
                <a:gd name="T42" fmla="*/ 16 w 2094"/>
                <a:gd name="T43" fmla="*/ 3712 h 8004"/>
                <a:gd name="T44" fmla="*/ 16 w 2094"/>
                <a:gd name="T45" fmla="*/ 3456 h 8004"/>
                <a:gd name="T46" fmla="*/ 32 w 2094"/>
                <a:gd name="T47" fmla="*/ 4080 h 8004"/>
                <a:gd name="T48" fmla="*/ 0 w 2094"/>
                <a:gd name="T49" fmla="*/ 3856 h 8004"/>
                <a:gd name="T50" fmla="*/ 32 w 2094"/>
                <a:gd name="T51" fmla="*/ 4240 h 8004"/>
                <a:gd name="T52" fmla="*/ 0 w 2094"/>
                <a:gd name="T53" fmla="*/ 4464 h 8004"/>
                <a:gd name="T54" fmla="*/ 32 w 2094"/>
                <a:gd name="T55" fmla="*/ 4240 h 8004"/>
                <a:gd name="T56" fmla="*/ 16 w 2094"/>
                <a:gd name="T57" fmla="*/ 4864 h 8004"/>
                <a:gd name="T58" fmla="*/ 16 w 2094"/>
                <a:gd name="T59" fmla="*/ 4608 h 8004"/>
                <a:gd name="T60" fmla="*/ 32 w 2094"/>
                <a:gd name="T61" fmla="*/ 5232 h 8004"/>
                <a:gd name="T62" fmla="*/ 0 w 2094"/>
                <a:gd name="T63" fmla="*/ 5008 h 8004"/>
                <a:gd name="T64" fmla="*/ 32 w 2094"/>
                <a:gd name="T65" fmla="*/ 5392 h 8004"/>
                <a:gd name="T66" fmla="*/ 0 w 2094"/>
                <a:gd name="T67" fmla="*/ 5616 h 8004"/>
                <a:gd name="T68" fmla="*/ 32 w 2094"/>
                <a:gd name="T69" fmla="*/ 5392 h 8004"/>
                <a:gd name="T70" fmla="*/ 16 w 2094"/>
                <a:gd name="T71" fmla="*/ 6016 h 8004"/>
                <a:gd name="T72" fmla="*/ 16 w 2094"/>
                <a:gd name="T73" fmla="*/ 5760 h 8004"/>
                <a:gd name="T74" fmla="*/ 32 w 2094"/>
                <a:gd name="T75" fmla="*/ 6384 h 8004"/>
                <a:gd name="T76" fmla="*/ 0 w 2094"/>
                <a:gd name="T77" fmla="*/ 6160 h 8004"/>
                <a:gd name="T78" fmla="*/ 32 w 2094"/>
                <a:gd name="T79" fmla="*/ 6544 h 8004"/>
                <a:gd name="T80" fmla="*/ 0 w 2094"/>
                <a:gd name="T81" fmla="*/ 6768 h 8004"/>
                <a:gd name="T82" fmla="*/ 32 w 2094"/>
                <a:gd name="T83" fmla="*/ 6544 h 8004"/>
                <a:gd name="T84" fmla="*/ 16 w 2094"/>
                <a:gd name="T85" fmla="*/ 7168 h 8004"/>
                <a:gd name="T86" fmla="*/ 16 w 2094"/>
                <a:gd name="T87" fmla="*/ 6912 h 8004"/>
                <a:gd name="T88" fmla="*/ 32 w 2094"/>
                <a:gd name="T89" fmla="*/ 7536 h 8004"/>
                <a:gd name="T90" fmla="*/ 0 w 2094"/>
                <a:gd name="T91" fmla="*/ 7312 h 8004"/>
                <a:gd name="T92" fmla="*/ 32 w 2094"/>
                <a:gd name="T93" fmla="*/ 7696 h 8004"/>
                <a:gd name="T94" fmla="*/ 0 w 2094"/>
                <a:gd name="T95" fmla="*/ 7920 h 8004"/>
                <a:gd name="T96" fmla="*/ 32 w 2094"/>
                <a:gd name="T97" fmla="*/ 7696 h 8004"/>
                <a:gd name="T98" fmla="*/ 348 w 2094"/>
                <a:gd name="T99" fmla="*/ 7988 h 8004"/>
                <a:gd name="T100" fmla="*/ 92 w 2094"/>
                <a:gd name="T101" fmla="*/ 7988 h 8004"/>
                <a:gd name="T102" fmla="*/ 716 w 2094"/>
                <a:gd name="T103" fmla="*/ 7972 h 8004"/>
                <a:gd name="T104" fmla="*/ 492 w 2094"/>
                <a:gd name="T105" fmla="*/ 8004 h 8004"/>
                <a:gd name="T106" fmla="*/ 876 w 2094"/>
                <a:gd name="T107" fmla="*/ 7972 h 8004"/>
                <a:gd name="T108" fmla="*/ 1100 w 2094"/>
                <a:gd name="T109" fmla="*/ 8004 h 8004"/>
                <a:gd name="T110" fmla="*/ 876 w 2094"/>
                <a:gd name="T111" fmla="*/ 7972 h 8004"/>
                <a:gd name="T112" fmla="*/ 1500 w 2094"/>
                <a:gd name="T113" fmla="*/ 7988 h 8004"/>
                <a:gd name="T114" fmla="*/ 1244 w 2094"/>
                <a:gd name="T115" fmla="*/ 7988 h 8004"/>
                <a:gd name="T116" fmla="*/ 1868 w 2094"/>
                <a:gd name="T117" fmla="*/ 7972 h 8004"/>
                <a:gd name="T118" fmla="*/ 1644 w 2094"/>
                <a:gd name="T119" fmla="*/ 8004 h 8004"/>
                <a:gd name="T120" fmla="*/ 2028 w 2094"/>
                <a:gd name="T121" fmla="*/ 7972 h 8004"/>
                <a:gd name="T122" fmla="*/ 2078 w 2094"/>
                <a:gd name="T123" fmla="*/ 8004 h 8004"/>
                <a:gd name="T124" fmla="*/ 2028 w 2094"/>
                <a:gd name="T125" fmla="*/ 7972 h 8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4" h="8004">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32" y="1936"/>
                  </a:moveTo>
                  <a:lnTo>
                    <a:pt x="32" y="2160"/>
                  </a:lnTo>
                  <a:cubicBezTo>
                    <a:pt x="32" y="2169"/>
                    <a:pt x="25" y="2176"/>
                    <a:pt x="16" y="2176"/>
                  </a:cubicBezTo>
                  <a:cubicBezTo>
                    <a:pt x="8" y="2176"/>
                    <a:pt x="0" y="2169"/>
                    <a:pt x="0" y="2160"/>
                  </a:cubicBezTo>
                  <a:lnTo>
                    <a:pt x="0" y="1936"/>
                  </a:lnTo>
                  <a:cubicBezTo>
                    <a:pt x="0" y="1927"/>
                    <a:pt x="8" y="1920"/>
                    <a:pt x="16" y="1920"/>
                  </a:cubicBezTo>
                  <a:cubicBezTo>
                    <a:pt x="25" y="1920"/>
                    <a:pt x="32" y="1927"/>
                    <a:pt x="32" y="1936"/>
                  </a:cubicBezTo>
                  <a:close/>
                  <a:moveTo>
                    <a:pt x="32" y="2320"/>
                  </a:moveTo>
                  <a:lnTo>
                    <a:pt x="32" y="2544"/>
                  </a:lnTo>
                  <a:cubicBezTo>
                    <a:pt x="32" y="2553"/>
                    <a:pt x="25" y="2560"/>
                    <a:pt x="16" y="2560"/>
                  </a:cubicBezTo>
                  <a:cubicBezTo>
                    <a:pt x="8" y="2560"/>
                    <a:pt x="0" y="2553"/>
                    <a:pt x="0" y="2544"/>
                  </a:cubicBezTo>
                  <a:lnTo>
                    <a:pt x="0" y="2320"/>
                  </a:lnTo>
                  <a:cubicBezTo>
                    <a:pt x="0" y="2311"/>
                    <a:pt x="8" y="2304"/>
                    <a:pt x="16" y="2304"/>
                  </a:cubicBezTo>
                  <a:cubicBezTo>
                    <a:pt x="25" y="2304"/>
                    <a:pt x="32" y="2311"/>
                    <a:pt x="32" y="2320"/>
                  </a:cubicBezTo>
                  <a:close/>
                  <a:moveTo>
                    <a:pt x="32" y="2704"/>
                  </a:moveTo>
                  <a:lnTo>
                    <a:pt x="32" y="2928"/>
                  </a:lnTo>
                  <a:cubicBezTo>
                    <a:pt x="32" y="2937"/>
                    <a:pt x="25" y="2944"/>
                    <a:pt x="16" y="2944"/>
                  </a:cubicBezTo>
                  <a:cubicBezTo>
                    <a:pt x="8" y="2944"/>
                    <a:pt x="0" y="2937"/>
                    <a:pt x="0" y="2928"/>
                  </a:cubicBezTo>
                  <a:lnTo>
                    <a:pt x="0" y="2704"/>
                  </a:lnTo>
                  <a:cubicBezTo>
                    <a:pt x="0" y="2695"/>
                    <a:pt x="8" y="2688"/>
                    <a:pt x="16" y="2688"/>
                  </a:cubicBezTo>
                  <a:cubicBezTo>
                    <a:pt x="25" y="2688"/>
                    <a:pt x="32" y="2695"/>
                    <a:pt x="32" y="2704"/>
                  </a:cubicBezTo>
                  <a:close/>
                  <a:moveTo>
                    <a:pt x="32" y="3088"/>
                  </a:moveTo>
                  <a:lnTo>
                    <a:pt x="32" y="3312"/>
                  </a:lnTo>
                  <a:cubicBezTo>
                    <a:pt x="32" y="3321"/>
                    <a:pt x="25" y="3328"/>
                    <a:pt x="16" y="3328"/>
                  </a:cubicBezTo>
                  <a:cubicBezTo>
                    <a:pt x="8" y="3328"/>
                    <a:pt x="0" y="3321"/>
                    <a:pt x="0" y="3312"/>
                  </a:cubicBezTo>
                  <a:lnTo>
                    <a:pt x="0" y="3088"/>
                  </a:lnTo>
                  <a:cubicBezTo>
                    <a:pt x="0" y="3079"/>
                    <a:pt x="8" y="3072"/>
                    <a:pt x="16" y="3072"/>
                  </a:cubicBezTo>
                  <a:cubicBezTo>
                    <a:pt x="25" y="3072"/>
                    <a:pt x="32" y="3079"/>
                    <a:pt x="32" y="3088"/>
                  </a:cubicBezTo>
                  <a:close/>
                  <a:moveTo>
                    <a:pt x="32" y="3472"/>
                  </a:moveTo>
                  <a:lnTo>
                    <a:pt x="32" y="3696"/>
                  </a:lnTo>
                  <a:cubicBezTo>
                    <a:pt x="32" y="3705"/>
                    <a:pt x="25" y="3712"/>
                    <a:pt x="16" y="3712"/>
                  </a:cubicBezTo>
                  <a:cubicBezTo>
                    <a:pt x="8" y="3712"/>
                    <a:pt x="0" y="3705"/>
                    <a:pt x="0" y="3696"/>
                  </a:cubicBezTo>
                  <a:lnTo>
                    <a:pt x="0" y="3472"/>
                  </a:lnTo>
                  <a:cubicBezTo>
                    <a:pt x="0" y="3463"/>
                    <a:pt x="8" y="3456"/>
                    <a:pt x="16" y="3456"/>
                  </a:cubicBezTo>
                  <a:cubicBezTo>
                    <a:pt x="25" y="3456"/>
                    <a:pt x="32" y="3463"/>
                    <a:pt x="32" y="3472"/>
                  </a:cubicBezTo>
                  <a:close/>
                  <a:moveTo>
                    <a:pt x="32" y="3856"/>
                  </a:moveTo>
                  <a:lnTo>
                    <a:pt x="32" y="4080"/>
                  </a:lnTo>
                  <a:cubicBezTo>
                    <a:pt x="32" y="4089"/>
                    <a:pt x="25" y="4096"/>
                    <a:pt x="16" y="4096"/>
                  </a:cubicBezTo>
                  <a:cubicBezTo>
                    <a:pt x="8" y="4096"/>
                    <a:pt x="0" y="4089"/>
                    <a:pt x="0" y="4080"/>
                  </a:cubicBezTo>
                  <a:lnTo>
                    <a:pt x="0" y="3856"/>
                  </a:lnTo>
                  <a:cubicBezTo>
                    <a:pt x="0" y="3847"/>
                    <a:pt x="8" y="3840"/>
                    <a:pt x="16" y="3840"/>
                  </a:cubicBezTo>
                  <a:cubicBezTo>
                    <a:pt x="25" y="3840"/>
                    <a:pt x="32" y="3847"/>
                    <a:pt x="32" y="3856"/>
                  </a:cubicBezTo>
                  <a:close/>
                  <a:moveTo>
                    <a:pt x="32" y="4240"/>
                  </a:moveTo>
                  <a:lnTo>
                    <a:pt x="32" y="4464"/>
                  </a:lnTo>
                  <a:cubicBezTo>
                    <a:pt x="32" y="4473"/>
                    <a:pt x="25" y="4480"/>
                    <a:pt x="16" y="4480"/>
                  </a:cubicBezTo>
                  <a:cubicBezTo>
                    <a:pt x="8" y="4480"/>
                    <a:pt x="0" y="4473"/>
                    <a:pt x="0" y="4464"/>
                  </a:cubicBezTo>
                  <a:lnTo>
                    <a:pt x="0" y="4240"/>
                  </a:lnTo>
                  <a:cubicBezTo>
                    <a:pt x="0" y="4231"/>
                    <a:pt x="8" y="4224"/>
                    <a:pt x="16" y="4224"/>
                  </a:cubicBezTo>
                  <a:cubicBezTo>
                    <a:pt x="25" y="4224"/>
                    <a:pt x="32" y="4231"/>
                    <a:pt x="32" y="4240"/>
                  </a:cubicBezTo>
                  <a:close/>
                  <a:moveTo>
                    <a:pt x="32" y="4624"/>
                  </a:moveTo>
                  <a:lnTo>
                    <a:pt x="32" y="4848"/>
                  </a:lnTo>
                  <a:cubicBezTo>
                    <a:pt x="32" y="4857"/>
                    <a:pt x="25" y="4864"/>
                    <a:pt x="16" y="4864"/>
                  </a:cubicBezTo>
                  <a:cubicBezTo>
                    <a:pt x="8" y="4864"/>
                    <a:pt x="0" y="4857"/>
                    <a:pt x="0" y="4848"/>
                  </a:cubicBezTo>
                  <a:lnTo>
                    <a:pt x="0" y="4624"/>
                  </a:lnTo>
                  <a:cubicBezTo>
                    <a:pt x="0" y="4615"/>
                    <a:pt x="8" y="4608"/>
                    <a:pt x="16" y="4608"/>
                  </a:cubicBezTo>
                  <a:cubicBezTo>
                    <a:pt x="25" y="4608"/>
                    <a:pt x="32" y="4615"/>
                    <a:pt x="32" y="4624"/>
                  </a:cubicBezTo>
                  <a:close/>
                  <a:moveTo>
                    <a:pt x="32" y="5008"/>
                  </a:moveTo>
                  <a:lnTo>
                    <a:pt x="32" y="5232"/>
                  </a:lnTo>
                  <a:cubicBezTo>
                    <a:pt x="32" y="5241"/>
                    <a:pt x="25" y="5248"/>
                    <a:pt x="16" y="5248"/>
                  </a:cubicBezTo>
                  <a:cubicBezTo>
                    <a:pt x="8" y="5248"/>
                    <a:pt x="0" y="5241"/>
                    <a:pt x="0" y="5232"/>
                  </a:cubicBezTo>
                  <a:lnTo>
                    <a:pt x="0" y="5008"/>
                  </a:lnTo>
                  <a:cubicBezTo>
                    <a:pt x="0" y="4999"/>
                    <a:pt x="8" y="4992"/>
                    <a:pt x="16" y="4992"/>
                  </a:cubicBezTo>
                  <a:cubicBezTo>
                    <a:pt x="25" y="4992"/>
                    <a:pt x="32" y="4999"/>
                    <a:pt x="32" y="5008"/>
                  </a:cubicBezTo>
                  <a:close/>
                  <a:moveTo>
                    <a:pt x="32" y="5392"/>
                  </a:moveTo>
                  <a:lnTo>
                    <a:pt x="32" y="5616"/>
                  </a:lnTo>
                  <a:cubicBezTo>
                    <a:pt x="32" y="5625"/>
                    <a:pt x="25" y="5632"/>
                    <a:pt x="16" y="5632"/>
                  </a:cubicBezTo>
                  <a:cubicBezTo>
                    <a:pt x="8" y="5632"/>
                    <a:pt x="0" y="5625"/>
                    <a:pt x="0" y="5616"/>
                  </a:cubicBezTo>
                  <a:lnTo>
                    <a:pt x="0" y="5392"/>
                  </a:lnTo>
                  <a:cubicBezTo>
                    <a:pt x="0" y="5383"/>
                    <a:pt x="8" y="5376"/>
                    <a:pt x="16" y="5376"/>
                  </a:cubicBezTo>
                  <a:cubicBezTo>
                    <a:pt x="25" y="5376"/>
                    <a:pt x="32" y="5383"/>
                    <a:pt x="32" y="5392"/>
                  </a:cubicBezTo>
                  <a:close/>
                  <a:moveTo>
                    <a:pt x="32" y="5776"/>
                  </a:moveTo>
                  <a:lnTo>
                    <a:pt x="32" y="6000"/>
                  </a:lnTo>
                  <a:cubicBezTo>
                    <a:pt x="32" y="6009"/>
                    <a:pt x="25" y="6016"/>
                    <a:pt x="16" y="6016"/>
                  </a:cubicBezTo>
                  <a:cubicBezTo>
                    <a:pt x="8" y="6016"/>
                    <a:pt x="0" y="6009"/>
                    <a:pt x="0" y="6000"/>
                  </a:cubicBezTo>
                  <a:lnTo>
                    <a:pt x="0" y="5776"/>
                  </a:lnTo>
                  <a:cubicBezTo>
                    <a:pt x="0" y="5767"/>
                    <a:pt x="8" y="5760"/>
                    <a:pt x="16" y="5760"/>
                  </a:cubicBezTo>
                  <a:cubicBezTo>
                    <a:pt x="25" y="5760"/>
                    <a:pt x="32" y="5767"/>
                    <a:pt x="32" y="5776"/>
                  </a:cubicBezTo>
                  <a:close/>
                  <a:moveTo>
                    <a:pt x="32" y="6160"/>
                  </a:moveTo>
                  <a:lnTo>
                    <a:pt x="32" y="6384"/>
                  </a:lnTo>
                  <a:cubicBezTo>
                    <a:pt x="32" y="6393"/>
                    <a:pt x="25" y="6400"/>
                    <a:pt x="16" y="6400"/>
                  </a:cubicBezTo>
                  <a:cubicBezTo>
                    <a:pt x="8" y="6400"/>
                    <a:pt x="0" y="6393"/>
                    <a:pt x="0" y="6384"/>
                  </a:cubicBezTo>
                  <a:lnTo>
                    <a:pt x="0" y="6160"/>
                  </a:lnTo>
                  <a:cubicBezTo>
                    <a:pt x="0" y="6151"/>
                    <a:pt x="8" y="6144"/>
                    <a:pt x="16" y="6144"/>
                  </a:cubicBezTo>
                  <a:cubicBezTo>
                    <a:pt x="25" y="6144"/>
                    <a:pt x="32" y="6151"/>
                    <a:pt x="32" y="6160"/>
                  </a:cubicBezTo>
                  <a:close/>
                  <a:moveTo>
                    <a:pt x="32" y="6544"/>
                  </a:moveTo>
                  <a:lnTo>
                    <a:pt x="32" y="6768"/>
                  </a:lnTo>
                  <a:cubicBezTo>
                    <a:pt x="32" y="6777"/>
                    <a:pt x="25" y="6784"/>
                    <a:pt x="16" y="6784"/>
                  </a:cubicBezTo>
                  <a:cubicBezTo>
                    <a:pt x="8" y="6784"/>
                    <a:pt x="0" y="6777"/>
                    <a:pt x="0" y="6768"/>
                  </a:cubicBezTo>
                  <a:lnTo>
                    <a:pt x="0" y="6544"/>
                  </a:lnTo>
                  <a:cubicBezTo>
                    <a:pt x="0" y="6535"/>
                    <a:pt x="8" y="6528"/>
                    <a:pt x="16" y="6528"/>
                  </a:cubicBezTo>
                  <a:cubicBezTo>
                    <a:pt x="25" y="6528"/>
                    <a:pt x="32" y="6535"/>
                    <a:pt x="32" y="6544"/>
                  </a:cubicBezTo>
                  <a:close/>
                  <a:moveTo>
                    <a:pt x="32" y="6928"/>
                  </a:moveTo>
                  <a:lnTo>
                    <a:pt x="32" y="7152"/>
                  </a:lnTo>
                  <a:cubicBezTo>
                    <a:pt x="32" y="7161"/>
                    <a:pt x="25" y="7168"/>
                    <a:pt x="16" y="7168"/>
                  </a:cubicBezTo>
                  <a:cubicBezTo>
                    <a:pt x="8" y="7168"/>
                    <a:pt x="0" y="7161"/>
                    <a:pt x="0" y="7152"/>
                  </a:cubicBezTo>
                  <a:lnTo>
                    <a:pt x="0" y="6928"/>
                  </a:lnTo>
                  <a:cubicBezTo>
                    <a:pt x="0" y="6919"/>
                    <a:pt x="8" y="6912"/>
                    <a:pt x="16" y="6912"/>
                  </a:cubicBezTo>
                  <a:cubicBezTo>
                    <a:pt x="25" y="6912"/>
                    <a:pt x="32" y="6919"/>
                    <a:pt x="32" y="6928"/>
                  </a:cubicBezTo>
                  <a:close/>
                  <a:moveTo>
                    <a:pt x="32" y="7312"/>
                  </a:moveTo>
                  <a:lnTo>
                    <a:pt x="32" y="7536"/>
                  </a:lnTo>
                  <a:cubicBezTo>
                    <a:pt x="32" y="7545"/>
                    <a:pt x="25" y="7552"/>
                    <a:pt x="16" y="7552"/>
                  </a:cubicBezTo>
                  <a:cubicBezTo>
                    <a:pt x="8" y="7552"/>
                    <a:pt x="0" y="7545"/>
                    <a:pt x="0" y="7536"/>
                  </a:cubicBezTo>
                  <a:lnTo>
                    <a:pt x="0" y="7312"/>
                  </a:lnTo>
                  <a:cubicBezTo>
                    <a:pt x="0" y="7303"/>
                    <a:pt x="8" y="7296"/>
                    <a:pt x="16" y="7296"/>
                  </a:cubicBezTo>
                  <a:cubicBezTo>
                    <a:pt x="25" y="7296"/>
                    <a:pt x="32" y="7303"/>
                    <a:pt x="32" y="7312"/>
                  </a:cubicBezTo>
                  <a:close/>
                  <a:moveTo>
                    <a:pt x="32" y="7696"/>
                  </a:moveTo>
                  <a:lnTo>
                    <a:pt x="32" y="7920"/>
                  </a:lnTo>
                  <a:cubicBezTo>
                    <a:pt x="32" y="7929"/>
                    <a:pt x="25" y="7936"/>
                    <a:pt x="16" y="7936"/>
                  </a:cubicBezTo>
                  <a:cubicBezTo>
                    <a:pt x="8" y="7936"/>
                    <a:pt x="0" y="7929"/>
                    <a:pt x="0" y="7920"/>
                  </a:cubicBezTo>
                  <a:lnTo>
                    <a:pt x="0" y="7696"/>
                  </a:lnTo>
                  <a:cubicBezTo>
                    <a:pt x="0" y="7687"/>
                    <a:pt x="8" y="7680"/>
                    <a:pt x="16" y="7680"/>
                  </a:cubicBezTo>
                  <a:cubicBezTo>
                    <a:pt x="25" y="7680"/>
                    <a:pt x="32" y="7687"/>
                    <a:pt x="32" y="7696"/>
                  </a:cubicBezTo>
                  <a:close/>
                  <a:moveTo>
                    <a:pt x="108" y="7972"/>
                  </a:moveTo>
                  <a:lnTo>
                    <a:pt x="332" y="7972"/>
                  </a:lnTo>
                  <a:cubicBezTo>
                    <a:pt x="341" y="7972"/>
                    <a:pt x="348" y="7979"/>
                    <a:pt x="348" y="7988"/>
                  </a:cubicBezTo>
                  <a:cubicBezTo>
                    <a:pt x="348" y="7997"/>
                    <a:pt x="341" y="8004"/>
                    <a:pt x="332" y="8004"/>
                  </a:cubicBezTo>
                  <a:lnTo>
                    <a:pt x="108" y="8004"/>
                  </a:lnTo>
                  <a:cubicBezTo>
                    <a:pt x="99" y="8004"/>
                    <a:pt x="92" y="7997"/>
                    <a:pt x="92" y="7988"/>
                  </a:cubicBezTo>
                  <a:cubicBezTo>
                    <a:pt x="92" y="7979"/>
                    <a:pt x="99" y="7972"/>
                    <a:pt x="108" y="7972"/>
                  </a:cubicBezTo>
                  <a:close/>
                  <a:moveTo>
                    <a:pt x="492" y="7972"/>
                  </a:moveTo>
                  <a:lnTo>
                    <a:pt x="716" y="7972"/>
                  </a:lnTo>
                  <a:cubicBezTo>
                    <a:pt x="725" y="7972"/>
                    <a:pt x="732" y="7979"/>
                    <a:pt x="732" y="7988"/>
                  </a:cubicBezTo>
                  <a:cubicBezTo>
                    <a:pt x="732" y="7997"/>
                    <a:pt x="725" y="8004"/>
                    <a:pt x="716" y="8004"/>
                  </a:cubicBezTo>
                  <a:lnTo>
                    <a:pt x="492" y="8004"/>
                  </a:lnTo>
                  <a:cubicBezTo>
                    <a:pt x="483" y="8004"/>
                    <a:pt x="476" y="7997"/>
                    <a:pt x="476" y="7988"/>
                  </a:cubicBezTo>
                  <a:cubicBezTo>
                    <a:pt x="476" y="7979"/>
                    <a:pt x="483" y="7972"/>
                    <a:pt x="492" y="7972"/>
                  </a:cubicBezTo>
                  <a:close/>
                  <a:moveTo>
                    <a:pt x="876" y="7972"/>
                  </a:moveTo>
                  <a:lnTo>
                    <a:pt x="1100" y="7972"/>
                  </a:lnTo>
                  <a:cubicBezTo>
                    <a:pt x="1109" y="7972"/>
                    <a:pt x="1116" y="7979"/>
                    <a:pt x="1116" y="7988"/>
                  </a:cubicBezTo>
                  <a:cubicBezTo>
                    <a:pt x="1116" y="7997"/>
                    <a:pt x="1109" y="8004"/>
                    <a:pt x="1100" y="8004"/>
                  </a:cubicBezTo>
                  <a:lnTo>
                    <a:pt x="876" y="8004"/>
                  </a:lnTo>
                  <a:cubicBezTo>
                    <a:pt x="867" y="8004"/>
                    <a:pt x="860" y="7997"/>
                    <a:pt x="860" y="7988"/>
                  </a:cubicBezTo>
                  <a:cubicBezTo>
                    <a:pt x="860" y="7979"/>
                    <a:pt x="867" y="7972"/>
                    <a:pt x="876" y="7972"/>
                  </a:cubicBezTo>
                  <a:close/>
                  <a:moveTo>
                    <a:pt x="1260" y="7972"/>
                  </a:moveTo>
                  <a:lnTo>
                    <a:pt x="1484" y="7972"/>
                  </a:lnTo>
                  <a:cubicBezTo>
                    <a:pt x="1493" y="7972"/>
                    <a:pt x="1500" y="7979"/>
                    <a:pt x="1500" y="7988"/>
                  </a:cubicBezTo>
                  <a:cubicBezTo>
                    <a:pt x="1500" y="7997"/>
                    <a:pt x="1493" y="8004"/>
                    <a:pt x="1484" y="8004"/>
                  </a:cubicBezTo>
                  <a:lnTo>
                    <a:pt x="1260" y="8004"/>
                  </a:lnTo>
                  <a:cubicBezTo>
                    <a:pt x="1251" y="8004"/>
                    <a:pt x="1244" y="7997"/>
                    <a:pt x="1244" y="7988"/>
                  </a:cubicBezTo>
                  <a:cubicBezTo>
                    <a:pt x="1244" y="7979"/>
                    <a:pt x="1251" y="7972"/>
                    <a:pt x="1260" y="7972"/>
                  </a:cubicBezTo>
                  <a:close/>
                  <a:moveTo>
                    <a:pt x="1644" y="7972"/>
                  </a:moveTo>
                  <a:lnTo>
                    <a:pt x="1868" y="7972"/>
                  </a:lnTo>
                  <a:cubicBezTo>
                    <a:pt x="1877" y="7972"/>
                    <a:pt x="1884" y="7979"/>
                    <a:pt x="1884" y="7988"/>
                  </a:cubicBezTo>
                  <a:cubicBezTo>
                    <a:pt x="1884" y="7997"/>
                    <a:pt x="1877" y="8004"/>
                    <a:pt x="1868" y="8004"/>
                  </a:cubicBezTo>
                  <a:lnTo>
                    <a:pt x="1644" y="8004"/>
                  </a:lnTo>
                  <a:cubicBezTo>
                    <a:pt x="1635" y="8004"/>
                    <a:pt x="1628" y="7997"/>
                    <a:pt x="1628" y="7988"/>
                  </a:cubicBezTo>
                  <a:cubicBezTo>
                    <a:pt x="1628" y="7979"/>
                    <a:pt x="1635" y="7972"/>
                    <a:pt x="1644" y="7972"/>
                  </a:cubicBezTo>
                  <a:close/>
                  <a:moveTo>
                    <a:pt x="2028" y="7972"/>
                  </a:moveTo>
                  <a:lnTo>
                    <a:pt x="2078" y="7972"/>
                  </a:lnTo>
                  <a:cubicBezTo>
                    <a:pt x="2087" y="7972"/>
                    <a:pt x="2094" y="7979"/>
                    <a:pt x="2094" y="7988"/>
                  </a:cubicBezTo>
                  <a:cubicBezTo>
                    <a:pt x="2094" y="7997"/>
                    <a:pt x="2087" y="8004"/>
                    <a:pt x="2078" y="8004"/>
                  </a:cubicBezTo>
                  <a:lnTo>
                    <a:pt x="2028" y="8004"/>
                  </a:lnTo>
                  <a:cubicBezTo>
                    <a:pt x="2019" y="8004"/>
                    <a:pt x="2012" y="7997"/>
                    <a:pt x="2012" y="7988"/>
                  </a:cubicBezTo>
                  <a:cubicBezTo>
                    <a:pt x="2012" y="7979"/>
                    <a:pt x="2019" y="7972"/>
                    <a:pt x="2028" y="7972"/>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4" name="Freeform 54">
              <a:extLst>
                <a:ext uri="{FF2B5EF4-FFF2-40B4-BE49-F238E27FC236}">
                  <a16:creationId xmlns:a16="http://schemas.microsoft.com/office/drawing/2014/main" id="{96E49E2D-C607-444F-AA7E-4BBC33A68FA3}"/>
                </a:ext>
              </a:extLst>
            </p:cNvPr>
            <p:cNvSpPr>
              <a:spLocks/>
            </p:cNvSpPr>
            <p:nvPr/>
          </p:nvSpPr>
          <p:spPr bwMode="auto">
            <a:xfrm>
              <a:off x="2716213" y="4843463"/>
              <a:ext cx="84137"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5" name="Rectangle 55">
              <a:extLst>
                <a:ext uri="{FF2B5EF4-FFF2-40B4-BE49-F238E27FC236}">
                  <a16:creationId xmlns:a16="http://schemas.microsoft.com/office/drawing/2014/main" id="{103F1F6D-0379-4520-B497-D74CA215D87B}"/>
                </a:ext>
              </a:extLst>
            </p:cNvPr>
            <p:cNvSpPr>
              <a:spLocks noChangeArrowheads="1"/>
            </p:cNvSpPr>
            <p:nvPr/>
          </p:nvSpPr>
          <p:spPr bwMode="auto">
            <a:xfrm>
              <a:off x="2286000" y="4167188"/>
              <a:ext cx="3302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review</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6" name="Rectangle 56">
              <a:extLst>
                <a:ext uri="{FF2B5EF4-FFF2-40B4-BE49-F238E27FC236}">
                  <a16:creationId xmlns:a16="http://schemas.microsoft.com/office/drawing/2014/main" id="{6FA17C02-9925-4414-915C-B13DC3994E6C}"/>
                </a:ext>
              </a:extLst>
            </p:cNvPr>
            <p:cNvSpPr>
              <a:spLocks noChangeArrowheads="1"/>
            </p:cNvSpPr>
            <p:nvPr/>
          </p:nvSpPr>
          <p:spPr bwMode="auto">
            <a:xfrm>
              <a:off x="2173288" y="4738688"/>
              <a:ext cx="4286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27" name="Freeform 57">
              <a:extLst>
                <a:ext uri="{FF2B5EF4-FFF2-40B4-BE49-F238E27FC236}">
                  <a16:creationId xmlns:a16="http://schemas.microsoft.com/office/drawing/2014/main" id="{DF96006D-93B3-4E7B-B5BF-FD463CAC0E2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8" name="Freeform 58">
              <a:extLst>
                <a:ext uri="{FF2B5EF4-FFF2-40B4-BE49-F238E27FC236}">
                  <a16:creationId xmlns:a16="http://schemas.microsoft.com/office/drawing/2014/main" id="{965751C4-B779-4171-AA8C-756FDC3ED440}"/>
                </a:ext>
              </a:extLst>
            </p:cNvPr>
            <p:cNvSpPr>
              <a:spLocks/>
            </p:cNvSpPr>
            <p:nvPr/>
          </p:nvSpPr>
          <p:spPr bwMode="auto">
            <a:xfrm>
              <a:off x="9444038" y="3706813"/>
              <a:ext cx="963612"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4"/>
                    <a:pt x="3088" y="0"/>
                    <a:pt x="2909" y="0"/>
                  </a:cubicBezTo>
                  <a:lnTo>
                    <a:pt x="323" y="0"/>
                  </a:lnTo>
                  <a:cubicBezTo>
                    <a:pt x="145" y="0"/>
                    <a:pt x="0" y="144"/>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9" name="Rectangle 59">
              <a:extLst>
                <a:ext uri="{FF2B5EF4-FFF2-40B4-BE49-F238E27FC236}">
                  <a16:creationId xmlns:a16="http://schemas.microsoft.com/office/drawing/2014/main" id="{5120F206-6B57-4B6C-B421-74F862A3522F}"/>
                </a:ext>
              </a:extLst>
            </p:cNvPr>
            <p:cNvSpPr>
              <a:spLocks noChangeArrowheads="1"/>
            </p:cNvSpPr>
            <p:nvPr/>
          </p:nvSpPr>
          <p:spPr bwMode="auto">
            <a:xfrm>
              <a:off x="9566275" y="3727450"/>
              <a:ext cx="857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verexposu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0" name="Rectangle 60">
              <a:extLst>
                <a:ext uri="{FF2B5EF4-FFF2-40B4-BE49-F238E27FC236}">
                  <a16:creationId xmlns:a16="http://schemas.microsoft.com/office/drawing/2014/main" id="{88740268-41F8-42D4-BF0C-F0424C5D88C3}"/>
                </a:ext>
              </a:extLst>
            </p:cNvPr>
            <p:cNvSpPr>
              <a:spLocks noChangeArrowheads="1"/>
            </p:cNvSpPr>
            <p:nvPr/>
          </p:nvSpPr>
          <p:spPr bwMode="auto">
            <a:xfrm>
              <a:off x="9734550" y="3879850"/>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1" name="Freeform 61">
              <a:extLst>
                <a:ext uri="{FF2B5EF4-FFF2-40B4-BE49-F238E27FC236}">
                  <a16:creationId xmlns:a16="http://schemas.microsoft.com/office/drawing/2014/main" id="{86845DE9-7122-4EAA-B25C-F2106E3399B1}"/>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2" name="Freeform 62">
              <a:extLst>
                <a:ext uri="{FF2B5EF4-FFF2-40B4-BE49-F238E27FC236}">
                  <a16:creationId xmlns:a16="http://schemas.microsoft.com/office/drawing/2014/main" id="{B00A9317-BA86-4DE7-9663-4A27C73E58F3}"/>
                </a:ext>
              </a:extLst>
            </p:cNvPr>
            <p:cNvSpPr>
              <a:spLocks/>
            </p:cNvSpPr>
            <p:nvPr/>
          </p:nvSpPr>
          <p:spPr bwMode="auto">
            <a:xfrm>
              <a:off x="9444038" y="4851400"/>
              <a:ext cx="963612"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3" name="Rectangle 63">
              <a:extLst>
                <a:ext uri="{FF2B5EF4-FFF2-40B4-BE49-F238E27FC236}">
                  <a16:creationId xmlns:a16="http://schemas.microsoft.com/office/drawing/2014/main" id="{B999BEAA-A2BE-4414-97F8-A8FEC3736F58}"/>
                </a:ext>
              </a:extLst>
            </p:cNvPr>
            <p:cNvSpPr>
              <a:spLocks noChangeArrowheads="1"/>
            </p:cNvSpPr>
            <p:nvPr/>
          </p:nvSpPr>
          <p:spPr bwMode="auto">
            <a:xfrm>
              <a:off x="9713913" y="4873625"/>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ransf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4" name="Rectangle 64">
              <a:extLst>
                <a:ext uri="{FF2B5EF4-FFF2-40B4-BE49-F238E27FC236}">
                  <a16:creationId xmlns:a16="http://schemas.microsoft.com/office/drawing/2014/main" id="{41B68B3C-1CBF-47AD-A3A2-64F62C8CDB91}"/>
                </a:ext>
              </a:extLst>
            </p:cNvPr>
            <p:cNvSpPr>
              <a:spLocks noChangeArrowheads="1"/>
            </p:cNvSpPr>
            <p:nvPr/>
          </p:nvSpPr>
          <p:spPr bwMode="auto">
            <a:xfrm>
              <a:off x="9734550" y="5026025"/>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5" name="Freeform 65">
              <a:extLst>
                <a:ext uri="{FF2B5EF4-FFF2-40B4-BE49-F238E27FC236}">
                  <a16:creationId xmlns:a16="http://schemas.microsoft.com/office/drawing/2014/main" id="{679D5907-8B7F-4E38-9509-A2792798C0C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6" name="Freeform 66">
              <a:extLst>
                <a:ext uri="{FF2B5EF4-FFF2-40B4-BE49-F238E27FC236}">
                  <a16:creationId xmlns:a16="http://schemas.microsoft.com/office/drawing/2014/main" id="{C93412C7-02EB-40B2-A8DF-A50EFCA2E20C}"/>
                </a:ext>
              </a:extLst>
            </p:cNvPr>
            <p:cNvSpPr>
              <a:spLocks/>
            </p:cNvSpPr>
            <p:nvPr/>
          </p:nvSpPr>
          <p:spPr bwMode="auto">
            <a:xfrm>
              <a:off x="9444038" y="4286250"/>
              <a:ext cx="963612" cy="361950"/>
            </a:xfrm>
            <a:custGeom>
              <a:avLst/>
              <a:gdLst>
                <a:gd name="T0" fmla="*/ 323 w 3232"/>
                <a:gd name="T1" fmla="*/ 1216 h 1216"/>
                <a:gd name="T2" fmla="*/ 2909 w 3232"/>
                <a:gd name="T3" fmla="*/ 1216 h 1216"/>
                <a:gd name="T4" fmla="*/ 3232 w 3232"/>
                <a:gd name="T5" fmla="*/ 893 h 1216"/>
                <a:gd name="T6" fmla="*/ 3232 w 3232"/>
                <a:gd name="T7" fmla="*/ 324 h 1216"/>
                <a:gd name="T8" fmla="*/ 2909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2"/>
                    <a:pt x="3232" y="893"/>
                  </a:cubicBezTo>
                  <a:lnTo>
                    <a:pt x="3232" y="324"/>
                  </a:lnTo>
                  <a:cubicBezTo>
                    <a:pt x="3232" y="145"/>
                    <a:pt x="3088" y="0"/>
                    <a:pt x="2909" y="0"/>
                  </a:cubicBezTo>
                  <a:lnTo>
                    <a:pt x="323" y="0"/>
                  </a:lnTo>
                  <a:cubicBezTo>
                    <a:pt x="145" y="0"/>
                    <a:pt x="0" y="145"/>
                    <a:pt x="0" y="324"/>
                  </a:cubicBezTo>
                  <a:lnTo>
                    <a:pt x="0" y="893"/>
                  </a:lnTo>
                  <a:cubicBezTo>
                    <a:pt x="0" y="1072"/>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7" name="Rectangle 67">
              <a:extLst>
                <a:ext uri="{FF2B5EF4-FFF2-40B4-BE49-F238E27FC236}">
                  <a16:creationId xmlns:a16="http://schemas.microsoft.com/office/drawing/2014/main" id="{5C7EADF9-532F-418F-9470-C299E3590DBA}"/>
                </a:ext>
              </a:extLst>
            </p:cNvPr>
            <p:cNvSpPr>
              <a:spLocks noChangeArrowheads="1"/>
            </p:cNvSpPr>
            <p:nvPr/>
          </p:nvSpPr>
          <p:spPr bwMode="auto">
            <a:xfrm>
              <a:off x="9586913" y="4306888"/>
              <a:ext cx="8159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inimizatio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8" name="Rectangle 68">
              <a:extLst>
                <a:ext uri="{FF2B5EF4-FFF2-40B4-BE49-F238E27FC236}">
                  <a16:creationId xmlns:a16="http://schemas.microsoft.com/office/drawing/2014/main" id="{7A742B85-6E3F-4142-9110-8127F52FD28B}"/>
                </a:ext>
              </a:extLst>
            </p:cNvPr>
            <p:cNvSpPr>
              <a:spLocks noChangeArrowheads="1"/>
            </p:cNvSpPr>
            <p:nvPr/>
          </p:nvSpPr>
          <p:spPr bwMode="auto">
            <a:xfrm>
              <a:off x="9734550" y="4459288"/>
              <a:ext cx="4905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olic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39" name="Freeform 69">
              <a:extLst>
                <a:ext uri="{FF2B5EF4-FFF2-40B4-BE49-F238E27FC236}">
                  <a16:creationId xmlns:a16="http://schemas.microsoft.com/office/drawing/2014/main" id="{84A6474A-B10E-4434-BA39-7BF8675FA78D}"/>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0" name="Freeform 70">
              <a:extLst>
                <a:ext uri="{FF2B5EF4-FFF2-40B4-BE49-F238E27FC236}">
                  <a16:creationId xmlns:a16="http://schemas.microsoft.com/office/drawing/2014/main" id="{ABFDE1BB-7B0E-4274-A258-0F0F4F4B789E}"/>
                </a:ext>
              </a:extLst>
            </p:cNvPr>
            <p:cNvSpPr>
              <a:spLocks/>
            </p:cNvSpPr>
            <p:nvPr/>
          </p:nvSpPr>
          <p:spPr bwMode="auto">
            <a:xfrm>
              <a:off x="7854950" y="4921250"/>
              <a:ext cx="962025" cy="361950"/>
            </a:xfrm>
            <a:custGeom>
              <a:avLst/>
              <a:gdLst>
                <a:gd name="T0" fmla="*/ 324 w 3232"/>
                <a:gd name="T1" fmla="*/ 1216 h 1216"/>
                <a:gd name="T2" fmla="*/ 2909 w 3232"/>
                <a:gd name="T3" fmla="*/ 1216 h 1216"/>
                <a:gd name="T4" fmla="*/ 3232 w 3232"/>
                <a:gd name="T5" fmla="*/ 892 h 1216"/>
                <a:gd name="T6" fmla="*/ 3232 w 3232"/>
                <a:gd name="T7" fmla="*/ 323 h 1216"/>
                <a:gd name="T8" fmla="*/ 2909 w 3232"/>
                <a:gd name="T9" fmla="*/ 0 h 1216"/>
                <a:gd name="T10" fmla="*/ 324 w 3232"/>
                <a:gd name="T11" fmla="*/ 0 h 1216"/>
                <a:gd name="T12" fmla="*/ 0 w 3232"/>
                <a:gd name="T13" fmla="*/ 323 h 1216"/>
                <a:gd name="T14" fmla="*/ 0 w 3232"/>
                <a:gd name="T15" fmla="*/ 892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2"/>
                  </a:cubicBezTo>
                  <a:lnTo>
                    <a:pt x="3232" y="323"/>
                  </a:lnTo>
                  <a:cubicBezTo>
                    <a:pt x="3232" y="144"/>
                    <a:pt x="3088" y="0"/>
                    <a:pt x="2909" y="0"/>
                  </a:cubicBezTo>
                  <a:lnTo>
                    <a:pt x="324" y="0"/>
                  </a:lnTo>
                  <a:cubicBezTo>
                    <a:pt x="145" y="0"/>
                    <a:pt x="0" y="144"/>
                    <a:pt x="0" y="323"/>
                  </a:cubicBezTo>
                  <a:lnTo>
                    <a:pt x="0" y="892"/>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1" name="Rectangle 71">
              <a:extLst>
                <a:ext uri="{FF2B5EF4-FFF2-40B4-BE49-F238E27FC236}">
                  <a16:creationId xmlns:a16="http://schemas.microsoft.com/office/drawing/2014/main" id="{A784BDD4-AF1B-4A26-A666-39C3B40812E0}"/>
                </a:ext>
              </a:extLst>
            </p:cNvPr>
            <p:cNvSpPr>
              <a:spLocks noChangeArrowheads="1"/>
            </p:cNvSpPr>
            <p:nvPr/>
          </p:nvSpPr>
          <p:spPr bwMode="auto">
            <a:xfrm>
              <a:off x="8107363" y="4941888"/>
              <a:ext cx="5762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Match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2" name="Rectangle 72">
              <a:extLst>
                <a:ext uri="{FF2B5EF4-FFF2-40B4-BE49-F238E27FC236}">
                  <a16:creationId xmlns:a16="http://schemas.microsoft.com/office/drawing/2014/main" id="{C874DEFF-909B-47BA-BE54-942AF28DEC08}"/>
                </a:ext>
              </a:extLst>
            </p:cNvPr>
            <p:cNvSpPr>
              <a:spLocks noChangeArrowheads="1"/>
            </p:cNvSpPr>
            <p:nvPr/>
          </p:nvSpPr>
          <p:spPr bwMode="auto">
            <a:xfrm>
              <a:off x="8194675" y="5094288"/>
              <a:ext cx="385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tem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3" name="Freeform 73">
              <a:extLst>
                <a:ext uri="{FF2B5EF4-FFF2-40B4-BE49-F238E27FC236}">
                  <a16:creationId xmlns:a16="http://schemas.microsoft.com/office/drawing/2014/main" id="{7E97EACC-16E1-44FE-B0FA-E4B68BDDA3DD}"/>
                </a:ext>
              </a:extLst>
            </p:cNvPr>
            <p:cNvSpPr>
              <a:spLocks/>
            </p:cNvSpPr>
            <p:nvPr/>
          </p:nvSpPr>
          <p:spPr bwMode="auto">
            <a:xfrm>
              <a:off x="2922588" y="292258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3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9" y="50"/>
                    <a:pt x="273" y="18"/>
                  </a:cubicBezTo>
                  <a:cubicBezTo>
                    <a:pt x="249" y="7"/>
                    <a:pt x="221" y="0"/>
                    <a:pt x="194" y="0"/>
                  </a:cubicBezTo>
                  <a:cubicBezTo>
                    <a:pt x="167" y="0"/>
                    <a:pt x="138" y="7"/>
                    <a:pt x="115" y="18"/>
                  </a:cubicBezTo>
                  <a:cubicBezTo>
                    <a:pt x="50" y="48"/>
                    <a:pt x="3" y="115"/>
                    <a:pt x="3" y="194"/>
                  </a:cubicBezTo>
                  <a:cubicBezTo>
                    <a:pt x="0" y="300"/>
                    <a:pt x="88" y="386"/>
                    <a:pt x="194" y="386"/>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4" name="Freeform 74">
              <a:extLst>
                <a:ext uri="{FF2B5EF4-FFF2-40B4-BE49-F238E27FC236}">
                  <a16:creationId xmlns:a16="http://schemas.microsoft.com/office/drawing/2014/main" id="{1264984D-E8D3-400B-AAE8-13B9F3D109B9}"/>
                </a:ext>
              </a:extLst>
            </p:cNvPr>
            <p:cNvSpPr>
              <a:spLocks/>
            </p:cNvSpPr>
            <p:nvPr/>
          </p:nvSpPr>
          <p:spPr bwMode="auto">
            <a:xfrm>
              <a:off x="2894013" y="3051175"/>
              <a:ext cx="171450" cy="85725"/>
            </a:xfrm>
            <a:custGeom>
              <a:avLst/>
              <a:gdLst>
                <a:gd name="T0" fmla="*/ 288 w 577"/>
                <a:gd name="T1" fmla="*/ 0 h 289"/>
                <a:gd name="T2" fmla="*/ 0 w 577"/>
                <a:gd name="T3" fmla="*/ 289 h 289"/>
                <a:gd name="T4" fmla="*/ 577 w 577"/>
                <a:gd name="T5" fmla="*/ 289 h 289"/>
                <a:gd name="T6" fmla="*/ 288 w 577"/>
                <a:gd name="T7" fmla="*/ 0 h 289"/>
              </a:gdLst>
              <a:ahLst/>
              <a:cxnLst>
                <a:cxn ang="0">
                  <a:pos x="T0" y="T1"/>
                </a:cxn>
                <a:cxn ang="0">
                  <a:pos x="T2" y="T3"/>
                </a:cxn>
                <a:cxn ang="0">
                  <a:pos x="T4" y="T5"/>
                </a:cxn>
                <a:cxn ang="0">
                  <a:pos x="T6" y="T7"/>
                </a:cxn>
              </a:cxnLst>
              <a:rect l="0" t="0" r="r" b="b"/>
              <a:pathLst>
                <a:path w="577" h="289">
                  <a:moveTo>
                    <a:pt x="288" y="0"/>
                  </a:moveTo>
                  <a:cubicBezTo>
                    <a:pt x="128" y="0"/>
                    <a:pt x="0" y="129"/>
                    <a:pt x="0" y="289"/>
                  </a:cubicBezTo>
                  <a:lnTo>
                    <a:pt x="577" y="289"/>
                  </a:lnTo>
                  <a:cubicBezTo>
                    <a:pt x="577" y="131"/>
                    <a:pt x="446" y="0"/>
                    <a:pt x="288" y="0"/>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5" name="Freeform 75">
              <a:extLst>
                <a:ext uri="{FF2B5EF4-FFF2-40B4-BE49-F238E27FC236}">
                  <a16:creationId xmlns:a16="http://schemas.microsoft.com/office/drawing/2014/main" id="{2F33CD9C-0E9D-4DA9-84FD-FAFED1EB4EA1}"/>
                </a:ext>
              </a:extLst>
            </p:cNvPr>
            <p:cNvSpPr>
              <a:spLocks/>
            </p:cNvSpPr>
            <p:nvPr/>
          </p:nvSpPr>
          <p:spPr bwMode="auto">
            <a:xfrm>
              <a:off x="2800350" y="3079750"/>
              <a:ext cx="80962" cy="57150"/>
            </a:xfrm>
            <a:custGeom>
              <a:avLst/>
              <a:gdLst>
                <a:gd name="T0" fmla="*/ 0 w 269"/>
                <a:gd name="T1" fmla="*/ 194 h 194"/>
                <a:gd name="T2" fmla="*/ 226 w 269"/>
                <a:gd name="T3" fmla="*/ 194 h 194"/>
                <a:gd name="T4" fmla="*/ 269 w 269"/>
                <a:gd name="T5" fmla="*/ 18 h 194"/>
                <a:gd name="T6" fmla="*/ 192 w 269"/>
                <a:gd name="T7" fmla="*/ 2 h 194"/>
                <a:gd name="T8" fmla="*/ 0 w 269"/>
                <a:gd name="T9" fmla="*/ 194 h 194"/>
              </a:gdLst>
              <a:ahLst/>
              <a:cxnLst>
                <a:cxn ang="0">
                  <a:pos x="T0" y="T1"/>
                </a:cxn>
                <a:cxn ang="0">
                  <a:pos x="T2" y="T3"/>
                </a:cxn>
                <a:cxn ang="0">
                  <a:pos x="T4" y="T5"/>
                </a:cxn>
                <a:cxn ang="0">
                  <a:pos x="T6" y="T7"/>
                </a:cxn>
                <a:cxn ang="0">
                  <a:pos x="T8" y="T9"/>
                </a:cxn>
              </a:cxnLst>
              <a:rect l="0" t="0" r="r" b="b"/>
              <a:pathLst>
                <a:path w="269" h="194">
                  <a:moveTo>
                    <a:pt x="0" y="194"/>
                  </a:moveTo>
                  <a:lnTo>
                    <a:pt x="226" y="194"/>
                  </a:lnTo>
                  <a:cubicBezTo>
                    <a:pt x="226" y="131"/>
                    <a:pt x="242" y="72"/>
                    <a:pt x="269" y="18"/>
                  </a:cubicBezTo>
                  <a:cubicBezTo>
                    <a:pt x="246" y="7"/>
                    <a:pt x="219" y="2"/>
                    <a:pt x="192" y="2"/>
                  </a:cubicBezTo>
                  <a:cubicBezTo>
                    <a:pt x="86" y="0"/>
                    <a:pt x="0" y="88"/>
                    <a:pt x="0" y="194"/>
                  </a:cubicBezTo>
                  <a:close/>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6" name="Freeform 76">
              <a:extLst>
                <a:ext uri="{FF2B5EF4-FFF2-40B4-BE49-F238E27FC236}">
                  <a16:creationId xmlns:a16="http://schemas.microsoft.com/office/drawing/2014/main" id="{B81EA80B-E616-47D5-B479-6DAC283B2815}"/>
                </a:ext>
              </a:extLst>
            </p:cNvPr>
            <p:cNvSpPr>
              <a:spLocks/>
            </p:cNvSpPr>
            <p:nvPr/>
          </p:nvSpPr>
          <p:spPr bwMode="auto">
            <a:xfrm>
              <a:off x="2814638" y="2979738"/>
              <a:ext cx="85725" cy="85725"/>
            </a:xfrm>
            <a:custGeom>
              <a:avLst/>
              <a:gdLst>
                <a:gd name="T0" fmla="*/ 144 w 288"/>
                <a:gd name="T1" fmla="*/ 0 h 289"/>
                <a:gd name="T2" fmla="*/ 0 w 288"/>
                <a:gd name="T3" fmla="*/ 145 h 289"/>
                <a:gd name="T4" fmla="*/ 51 w 288"/>
                <a:gd name="T5" fmla="*/ 255 h 289"/>
                <a:gd name="T6" fmla="*/ 135 w 288"/>
                <a:gd name="T7" fmla="*/ 289 h 289"/>
                <a:gd name="T8" fmla="*/ 144 w 288"/>
                <a:gd name="T9" fmla="*/ 289 h 289"/>
                <a:gd name="T10" fmla="*/ 153 w 288"/>
                <a:gd name="T11" fmla="*/ 289 h 289"/>
                <a:gd name="T12" fmla="*/ 236 w 288"/>
                <a:gd name="T13" fmla="*/ 255 h 289"/>
                <a:gd name="T14" fmla="*/ 288 w 288"/>
                <a:gd name="T15" fmla="*/ 145 h 289"/>
                <a:gd name="T16" fmla="*/ 144 w 288"/>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89">
                  <a:moveTo>
                    <a:pt x="144" y="0"/>
                  </a:moveTo>
                  <a:cubicBezTo>
                    <a:pt x="65" y="0"/>
                    <a:pt x="0" y="66"/>
                    <a:pt x="0" y="145"/>
                  </a:cubicBezTo>
                  <a:cubicBezTo>
                    <a:pt x="0" y="190"/>
                    <a:pt x="20" y="228"/>
                    <a:pt x="51" y="255"/>
                  </a:cubicBezTo>
                  <a:cubicBezTo>
                    <a:pt x="74" y="276"/>
                    <a:pt x="103" y="287"/>
                    <a:pt x="135" y="289"/>
                  </a:cubicBezTo>
                  <a:cubicBezTo>
                    <a:pt x="137" y="289"/>
                    <a:pt x="139" y="289"/>
                    <a:pt x="144" y="289"/>
                  </a:cubicBezTo>
                  <a:cubicBezTo>
                    <a:pt x="146" y="289"/>
                    <a:pt x="148" y="289"/>
                    <a:pt x="153" y="289"/>
                  </a:cubicBezTo>
                  <a:cubicBezTo>
                    <a:pt x="185" y="287"/>
                    <a:pt x="214" y="276"/>
                    <a:pt x="236" y="255"/>
                  </a:cubicBezTo>
                  <a:cubicBezTo>
                    <a:pt x="268" y="228"/>
                    <a:pt x="288" y="190"/>
                    <a:pt x="288" y="145"/>
                  </a:cubicBezTo>
                  <a:cubicBezTo>
                    <a:pt x="288" y="66"/>
                    <a:pt x="225" y="0"/>
                    <a:pt x="144" y="0"/>
                  </a:cubicBezTo>
                </a:path>
              </a:pathLst>
            </a:cu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7" name="Rectangle 77">
              <a:extLst>
                <a:ext uri="{FF2B5EF4-FFF2-40B4-BE49-F238E27FC236}">
                  <a16:creationId xmlns:a16="http://schemas.microsoft.com/office/drawing/2014/main" id="{7B8F4C37-E9F6-47D4-AA10-AF961BB9130B}"/>
                </a:ext>
              </a:extLst>
            </p:cNvPr>
            <p:cNvSpPr>
              <a:spLocks noChangeArrowheads="1"/>
            </p:cNvSpPr>
            <p:nvPr/>
          </p:nvSpPr>
          <p:spPr bwMode="auto">
            <a:xfrm>
              <a:off x="3130550" y="2890838"/>
              <a:ext cx="3571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ata</a:t>
              </a:r>
              <a:endParaRPr kumimoji="0" lang="en-US" altLang="en-US" sz="1800" b="0" i="0" u="none" strike="noStrike" kern="1200" cap="none" spc="0" normalizeH="0" baseline="0" noProof="0" dirty="0">
                <a:ln>
                  <a:noFill/>
                </a:ln>
                <a:solidFill>
                  <a:srgbClr val="282828"/>
                </a:solidFill>
                <a:effectLst/>
                <a:uLnTx/>
                <a:uFillTx/>
                <a:latin typeface="Arial" panose="020B0604020202020204" pitchFamily="34" charset="0"/>
                <a:ea typeface="+mn-ea"/>
                <a:cs typeface="+mn-cs"/>
              </a:endParaRPr>
            </a:p>
          </p:txBody>
        </p:sp>
        <p:sp>
          <p:nvSpPr>
            <p:cNvPr id="448" name="Rectangle 78">
              <a:extLst>
                <a:ext uri="{FF2B5EF4-FFF2-40B4-BE49-F238E27FC236}">
                  <a16:creationId xmlns:a16="http://schemas.microsoft.com/office/drawing/2014/main" id="{9E80E060-5EE6-49CD-88D8-5B551B1D2BC7}"/>
                </a:ext>
              </a:extLst>
            </p:cNvPr>
            <p:cNvSpPr>
              <a:spLocks noChangeArrowheads="1"/>
            </p:cNvSpPr>
            <p:nvPr/>
          </p:nvSpPr>
          <p:spPr bwMode="auto">
            <a:xfrm>
              <a:off x="3130550" y="3043238"/>
              <a:ext cx="5238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bjec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49" name="Freeform 79">
              <a:extLst>
                <a:ext uri="{FF2B5EF4-FFF2-40B4-BE49-F238E27FC236}">
                  <a16:creationId xmlns:a16="http://schemas.microsoft.com/office/drawing/2014/main" id="{4FC7E019-EB9E-42B4-9C02-40AB3B1B817A}"/>
                </a:ext>
              </a:extLst>
            </p:cNvPr>
            <p:cNvSpPr>
              <a:spLocks/>
            </p:cNvSpPr>
            <p:nvPr/>
          </p:nvSpPr>
          <p:spPr bwMode="auto">
            <a:xfrm>
              <a:off x="2122488" y="2509838"/>
              <a:ext cx="571500" cy="555625"/>
            </a:xfrm>
            <a:custGeom>
              <a:avLst/>
              <a:gdLst>
                <a:gd name="T0" fmla="*/ 0 w 360"/>
                <a:gd name="T1" fmla="*/ 0 h 350"/>
                <a:gd name="T2" fmla="*/ 0 w 360"/>
                <a:gd name="T3" fmla="*/ 350 h 350"/>
                <a:gd name="T4" fmla="*/ 360 w 360"/>
                <a:gd name="T5" fmla="*/ 350 h 350"/>
              </a:gdLst>
              <a:ahLst/>
              <a:cxnLst>
                <a:cxn ang="0">
                  <a:pos x="T0" y="T1"/>
                </a:cxn>
                <a:cxn ang="0">
                  <a:pos x="T2" y="T3"/>
                </a:cxn>
                <a:cxn ang="0">
                  <a:pos x="T4" y="T5"/>
                </a:cxn>
              </a:cxnLst>
              <a:rect l="0" t="0" r="r" b="b"/>
              <a:pathLst>
                <a:path w="360" h="350">
                  <a:moveTo>
                    <a:pt x="0" y="0"/>
                  </a:moveTo>
                  <a:lnTo>
                    <a:pt x="0" y="350"/>
                  </a:lnTo>
                  <a:lnTo>
                    <a:pt x="360" y="3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0" name="Freeform 80">
              <a:extLst>
                <a:ext uri="{FF2B5EF4-FFF2-40B4-BE49-F238E27FC236}">
                  <a16:creationId xmlns:a16="http://schemas.microsoft.com/office/drawing/2014/main" id="{993C6A44-523C-4EF2-BE80-C9A6FA744145}"/>
                </a:ext>
              </a:extLst>
            </p:cNvPr>
            <p:cNvSpPr>
              <a:spLocks/>
            </p:cNvSpPr>
            <p:nvPr/>
          </p:nvSpPr>
          <p:spPr bwMode="auto">
            <a:xfrm>
              <a:off x="2673350" y="3024188"/>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451" name="Group 450">
              <a:extLst>
                <a:ext uri="{FF2B5EF4-FFF2-40B4-BE49-F238E27FC236}">
                  <a16:creationId xmlns:a16="http://schemas.microsoft.com/office/drawing/2014/main" id="{78648487-59D8-43B0-A14D-AE032EE660A7}"/>
                </a:ext>
              </a:extLst>
            </p:cNvPr>
            <p:cNvGrpSpPr/>
            <p:nvPr/>
          </p:nvGrpSpPr>
          <p:grpSpPr>
            <a:xfrm>
              <a:off x="7996238" y="1730375"/>
              <a:ext cx="3502024" cy="754063"/>
              <a:chOff x="7996238" y="1730375"/>
              <a:chExt cx="3502024" cy="754063"/>
            </a:xfrm>
          </p:grpSpPr>
          <p:sp>
            <p:nvSpPr>
              <p:cNvPr id="486" name="Freeform 30">
                <a:extLst>
                  <a:ext uri="{FF2B5EF4-FFF2-40B4-BE49-F238E27FC236}">
                    <a16:creationId xmlns:a16="http://schemas.microsoft.com/office/drawing/2014/main" id="{A44D6C03-F9A3-4168-A405-343FC96BF726}"/>
                  </a:ext>
                </a:extLst>
              </p:cNvPr>
              <p:cNvSpPr>
                <a:spLocks/>
              </p:cNvSpPr>
              <p:nvPr/>
            </p:nvSpPr>
            <p:spPr bwMode="auto">
              <a:xfrm>
                <a:off x="10471150" y="1735138"/>
                <a:ext cx="114300" cy="114300"/>
              </a:xfrm>
              <a:custGeom>
                <a:avLst/>
                <a:gdLst>
                  <a:gd name="T0" fmla="*/ 194 w 386"/>
                  <a:gd name="T1" fmla="*/ 386 h 386"/>
                  <a:gd name="T2" fmla="*/ 386 w 386"/>
                  <a:gd name="T3" fmla="*/ 194 h 386"/>
                  <a:gd name="T4" fmla="*/ 273 w 386"/>
                  <a:gd name="T5" fmla="*/ 18 h 386"/>
                  <a:gd name="T6" fmla="*/ 194 w 386"/>
                  <a:gd name="T7" fmla="*/ 0 h 386"/>
                  <a:gd name="T8" fmla="*/ 115 w 386"/>
                  <a:gd name="T9" fmla="*/ 18 h 386"/>
                  <a:gd name="T10" fmla="*/ 2 w 386"/>
                  <a:gd name="T11" fmla="*/ 194 h 386"/>
                  <a:gd name="T12" fmla="*/ 194 w 386"/>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6" h="386">
                    <a:moveTo>
                      <a:pt x="194" y="386"/>
                    </a:moveTo>
                    <a:cubicBezTo>
                      <a:pt x="300" y="386"/>
                      <a:pt x="386" y="300"/>
                      <a:pt x="386" y="194"/>
                    </a:cubicBezTo>
                    <a:cubicBezTo>
                      <a:pt x="386" y="115"/>
                      <a:pt x="338" y="50"/>
                      <a:pt x="273" y="18"/>
                    </a:cubicBezTo>
                    <a:cubicBezTo>
                      <a:pt x="248" y="7"/>
                      <a:pt x="221" y="0"/>
                      <a:pt x="194" y="0"/>
                    </a:cubicBezTo>
                    <a:cubicBezTo>
                      <a:pt x="167" y="0"/>
                      <a:pt x="138" y="7"/>
                      <a:pt x="115" y="18"/>
                    </a:cubicBezTo>
                    <a:cubicBezTo>
                      <a:pt x="50" y="47"/>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7" name="Freeform 31">
                <a:extLst>
                  <a:ext uri="{FF2B5EF4-FFF2-40B4-BE49-F238E27FC236}">
                    <a16:creationId xmlns:a16="http://schemas.microsoft.com/office/drawing/2014/main" id="{0B04BD56-BBF9-4AA6-B459-848C10961C30}"/>
                  </a:ext>
                </a:extLst>
              </p:cNvPr>
              <p:cNvSpPr>
                <a:spLocks/>
              </p:cNvSpPr>
              <p:nvPr/>
            </p:nvSpPr>
            <p:spPr bwMode="auto">
              <a:xfrm>
                <a:off x="10442575" y="1863725"/>
                <a:ext cx="171450" cy="85725"/>
              </a:xfrm>
              <a:custGeom>
                <a:avLst/>
                <a:gdLst>
                  <a:gd name="T0" fmla="*/ 289 w 578"/>
                  <a:gd name="T1" fmla="*/ 0 h 288"/>
                  <a:gd name="T2" fmla="*/ 0 w 578"/>
                  <a:gd name="T3" fmla="*/ 288 h 288"/>
                  <a:gd name="T4" fmla="*/ 578 w 578"/>
                  <a:gd name="T5" fmla="*/ 288 h 288"/>
                  <a:gd name="T6" fmla="*/ 289 w 578"/>
                  <a:gd name="T7" fmla="*/ 0 h 288"/>
                </a:gdLst>
                <a:ahLst/>
                <a:cxnLst>
                  <a:cxn ang="0">
                    <a:pos x="T0" y="T1"/>
                  </a:cxn>
                  <a:cxn ang="0">
                    <a:pos x="T2" y="T3"/>
                  </a:cxn>
                  <a:cxn ang="0">
                    <a:pos x="T4" y="T5"/>
                  </a:cxn>
                  <a:cxn ang="0">
                    <a:pos x="T6" y="T7"/>
                  </a:cxn>
                </a:cxnLst>
                <a:rect l="0" t="0" r="r" b="b"/>
                <a:pathLst>
                  <a:path w="578" h="288">
                    <a:moveTo>
                      <a:pt x="289" y="0"/>
                    </a:moveTo>
                    <a:cubicBezTo>
                      <a:pt x="129" y="0"/>
                      <a:pt x="0" y="128"/>
                      <a:pt x="0" y="288"/>
                    </a:cubicBezTo>
                    <a:lnTo>
                      <a:pt x="578" y="288"/>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8" name="Freeform 32">
                <a:extLst>
                  <a:ext uri="{FF2B5EF4-FFF2-40B4-BE49-F238E27FC236}">
                    <a16:creationId xmlns:a16="http://schemas.microsoft.com/office/drawing/2014/main" id="{46924AAD-9A28-447D-86F8-C678CBDD6788}"/>
                  </a:ext>
                </a:extLst>
              </p:cNvPr>
              <p:cNvSpPr>
                <a:spLocks/>
              </p:cNvSpPr>
              <p:nvPr/>
            </p:nvSpPr>
            <p:spPr bwMode="auto">
              <a:xfrm>
                <a:off x="10348913" y="1892300"/>
                <a:ext cx="79375" cy="57150"/>
              </a:xfrm>
              <a:custGeom>
                <a:avLst/>
                <a:gdLst>
                  <a:gd name="T0" fmla="*/ 0 w 268"/>
                  <a:gd name="T1" fmla="*/ 194 h 194"/>
                  <a:gd name="T2" fmla="*/ 225 w 268"/>
                  <a:gd name="T3" fmla="*/ 194 h 194"/>
                  <a:gd name="T4" fmla="*/ 268 w 268"/>
                  <a:gd name="T5" fmla="*/ 18 h 194"/>
                  <a:gd name="T6" fmla="*/ 192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6" y="6"/>
                      <a:pt x="219" y="2"/>
                      <a:pt x="192" y="2"/>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9" name="Freeform 33">
                <a:extLst>
                  <a:ext uri="{FF2B5EF4-FFF2-40B4-BE49-F238E27FC236}">
                    <a16:creationId xmlns:a16="http://schemas.microsoft.com/office/drawing/2014/main" id="{C6E1363B-EA4E-451F-AA49-FDEFCF72BD62}"/>
                  </a:ext>
                </a:extLst>
              </p:cNvPr>
              <p:cNvSpPr>
                <a:spLocks/>
              </p:cNvSpPr>
              <p:nvPr/>
            </p:nvSpPr>
            <p:spPr bwMode="auto">
              <a:xfrm>
                <a:off x="10363200" y="1792288"/>
                <a:ext cx="85725" cy="87313"/>
              </a:xfrm>
              <a:custGeom>
                <a:avLst/>
                <a:gdLst>
                  <a:gd name="T0" fmla="*/ 145 w 289"/>
                  <a:gd name="T1" fmla="*/ 0 h 289"/>
                  <a:gd name="T2" fmla="*/ 0 w 289"/>
                  <a:gd name="T3" fmla="*/ 144 h 289"/>
                  <a:gd name="T4" fmla="*/ 52 w 289"/>
                  <a:gd name="T5" fmla="*/ 255 h 289"/>
                  <a:gd name="T6" fmla="*/ 136 w 289"/>
                  <a:gd name="T7" fmla="*/ 289 h 289"/>
                  <a:gd name="T8" fmla="*/ 145 w 289"/>
                  <a:gd name="T9" fmla="*/ 289 h 289"/>
                  <a:gd name="T10" fmla="*/ 154 w 289"/>
                  <a:gd name="T11" fmla="*/ 289 h 289"/>
                  <a:gd name="T12" fmla="*/ 237 w 289"/>
                  <a:gd name="T13" fmla="*/ 255 h 289"/>
                  <a:gd name="T14" fmla="*/ 289 w 289"/>
                  <a:gd name="T15" fmla="*/ 144 h 289"/>
                  <a:gd name="T16" fmla="*/ 145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5" y="0"/>
                    </a:moveTo>
                    <a:cubicBezTo>
                      <a:pt x="66" y="0"/>
                      <a:pt x="0" y="65"/>
                      <a:pt x="0" y="144"/>
                    </a:cubicBezTo>
                    <a:cubicBezTo>
                      <a:pt x="0" y="189"/>
                      <a:pt x="21" y="228"/>
                      <a:pt x="52" y="255"/>
                    </a:cubicBezTo>
                    <a:cubicBezTo>
                      <a:pt x="75" y="275"/>
                      <a:pt x="104" y="286"/>
                      <a:pt x="136" y="289"/>
                    </a:cubicBezTo>
                    <a:cubicBezTo>
                      <a:pt x="138" y="289"/>
                      <a:pt x="140" y="289"/>
                      <a:pt x="145" y="289"/>
                    </a:cubicBezTo>
                    <a:cubicBezTo>
                      <a:pt x="147" y="289"/>
                      <a:pt x="149" y="289"/>
                      <a:pt x="154" y="289"/>
                    </a:cubicBezTo>
                    <a:cubicBezTo>
                      <a:pt x="185" y="286"/>
                      <a:pt x="215" y="275"/>
                      <a:pt x="237" y="255"/>
                    </a:cubicBezTo>
                    <a:cubicBezTo>
                      <a:pt x="269" y="228"/>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0" name="Rectangle 34">
                <a:extLst>
                  <a:ext uri="{FF2B5EF4-FFF2-40B4-BE49-F238E27FC236}">
                    <a16:creationId xmlns:a16="http://schemas.microsoft.com/office/drawing/2014/main" id="{6F01C0BD-F9E2-4A18-81E4-3E3024F37CBB}"/>
                  </a:ext>
                </a:extLst>
              </p:cNvPr>
              <p:cNvSpPr>
                <a:spLocks noChangeArrowheads="1"/>
              </p:cNvSpPr>
              <p:nvPr/>
            </p:nvSpPr>
            <p:spPr bwMode="auto">
              <a:xfrm>
                <a:off x="10655300" y="1730375"/>
                <a:ext cx="84296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ase Analys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1" name="Freeform 81">
                <a:extLst>
                  <a:ext uri="{FF2B5EF4-FFF2-40B4-BE49-F238E27FC236}">
                    <a16:creationId xmlns:a16="http://schemas.microsoft.com/office/drawing/2014/main" id="{FD9C1CC5-978F-4A2E-BA10-DA1820E780D8}"/>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2" name="Freeform 82">
                <a:extLst>
                  <a:ext uri="{FF2B5EF4-FFF2-40B4-BE49-F238E27FC236}">
                    <a16:creationId xmlns:a16="http://schemas.microsoft.com/office/drawing/2014/main" id="{DF5AFCA7-1408-44F2-AE60-4251DAC1E639}"/>
                  </a:ext>
                </a:extLst>
              </p:cNvPr>
              <p:cNvSpPr>
                <a:spLocks/>
              </p:cNvSpPr>
              <p:nvPr/>
            </p:nvSpPr>
            <p:spPr bwMode="auto">
              <a:xfrm>
                <a:off x="8678863" y="2120900"/>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3" name="Rectangle 83">
                <a:extLst>
                  <a:ext uri="{FF2B5EF4-FFF2-40B4-BE49-F238E27FC236}">
                    <a16:creationId xmlns:a16="http://schemas.microsoft.com/office/drawing/2014/main" id="{20A5DBE4-C2CB-4D7A-8CB5-29B269BC7CB0}"/>
                  </a:ext>
                </a:extLst>
              </p:cNvPr>
              <p:cNvSpPr>
                <a:spLocks noChangeArrowheads="1"/>
              </p:cNvSpPr>
              <p:nvPr/>
            </p:nvSpPr>
            <p:spPr bwMode="auto">
              <a:xfrm>
                <a:off x="9012238" y="2219325"/>
                <a:ext cx="4000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ert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4" name="Freeform 84">
                <a:extLst>
                  <a:ext uri="{FF2B5EF4-FFF2-40B4-BE49-F238E27FC236}">
                    <a16:creationId xmlns:a16="http://schemas.microsoft.com/office/drawing/2014/main" id="{816CAB40-A16B-4E67-AD6A-B7B752F7B7EF}"/>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5" name="Freeform 85">
                <a:extLst>
                  <a:ext uri="{FF2B5EF4-FFF2-40B4-BE49-F238E27FC236}">
                    <a16:creationId xmlns:a16="http://schemas.microsoft.com/office/drawing/2014/main" id="{BF625E27-B825-46E8-AC03-55D75EE9F231}"/>
                  </a:ext>
                </a:extLst>
              </p:cNvPr>
              <p:cNvSpPr>
                <a:spLocks/>
              </p:cNvSpPr>
              <p:nvPr/>
            </p:nvSpPr>
            <p:spPr bwMode="auto">
              <a:xfrm>
                <a:off x="10404475" y="2120900"/>
                <a:ext cx="962025" cy="363538"/>
              </a:xfrm>
              <a:custGeom>
                <a:avLst/>
                <a:gdLst>
                  <a:gd name="T0" fmla="*/ 162 w 1616"/>
                  <a:gd name="T1" fmla="*/ 608 h 608"/>
                  <a:gd name="T2" fmla="*/ 1455 w 1616"/>
                  <a:gd name="T3" fmla="*/ 608 h 608"/>
                  <a:gd name="T4" fmla="*/ 1616 w 1616"/>
                  <a:gd name="T5" fmla="*/ 446 h 608"/>
                  <a:gd name="T6" fmla="*/ 1616 w 1616"/>
                  <a:gd name="T7" fmla="*/ 162 h 608"/>
                  <a:gd name="T8" fmla="*/ 1455 w 1616"/>
                  <a:gd name="T9" fmla="*/ 0 h 608"/>
                  <a:gd name="T10" fmla="*/ 162 w 1616"/>
                  <a:gd name="T11" fmla="*/ 0 h 608"/>
                  <a:gd name="T12" fmla="*/ 0 w 1616"/>
                  <a:gd name="T13" fmla="*/ 162 h 608"/>
                  <a:gd name="T14" fmla="*/ 0 w 1616"/>
                  <a:gd name="T15" fmla="*/ 446 h 608"/>
                  <a:gd name="T16" fmla="*/ 162 w 1616"/>
                  <a:gd name="T1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6" h="608">
                    <a:moveTo>
                      <a:pt x="162" y="608"/>
                    </a:moveTo>
                    <a:lnTo>
                      <a:pt x="1455" y="608"/>
                    </a:lnTo>
                    <a:cubicBezTo>
                      <a:pt x="1544" y="608"/>
                      <a:pt x="1616" y="536"/>
                      <a:pt x="1616" y="446"/>
                    </a:cubicBezTo>
                    <a:lnTo>
                      <a:pt x="1616" y="162"/>
                    </a:lnTo>
                    <a:cubicBezTo>
                      <a:pt x="1616" y="72"/>
                      <a:pt x="1544" y="0"/>
                      <a:pt x="1455" y="0"/>
                    </a:cubicBezTo>
                    <a:lnTo>
                      <a:pt x="162" y="0"/>
                    </a:lnTo>
                    <a:cubicBezTo>
                      <a:pt x="73" y="0"/>
                      <a:pt x="0" y="72"/>
                      <a:pt x="0" y="162"/>
                    </a:cubicBezTo>
                    <a:lnTo>
                      <a:pt x="0" y="446"/>
                    </a:lnTo>
                    <a:cubicBezTo>
                      <a:pt x="0" y="536"/>
                      <a:pt x="73" y="608"/>
                      <a:pt x="162" y="60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6" name="Rectangle 86">
                <a:extLst>
                  <a:ext uri="{FF2B5EF4-FFF2-40B4-BE49-F238E27FC236}">
                    <a16:creationId xmlns:a16="http://schemas.microsoft.com/office/drawing/2014/main" id="{529DF59B-DB75-4791-89CA-E9CB1CB6E905}"/>
                  </a:ext>
                </a:extLst>
              </p:cNvPr>
              <p:cNvSpPr>
                <a:spLocks noChangeArrowheads="1"/>
              </p:cNvSpPr>
              <p:nvPr/>
            </p:nvSpPr>
            <p:spPr bwMode="auto">
              <a:xfrm>
                <a:off x="10733088" y="2219325"/>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su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97" name="Freeform 87">
                <a:extLst>
                  <a:ext uri="{FF2B5EF4-FFF2-40B4-BE49-F238E27FC236}">
                    <a16:creationId xmlns:a16="http://schemas.microsoft.com/office/drawing/2014/main" id="{779AABF1-97E2-4AEF-97FE-BF8DCD3C7FB2}"/>
                  </a:ext>
                </a:extLst>
              </p:cNvPr>
              <p:cNvSpPr>
                <a:spLocks noEditPoints="1"/>
              </p:cNvSpPr>
              <p:nvPr/>
            </p:nvSpPr>
            <p:spPr bwMode="auto">
              <a:xfrm>
                <a:off x="9637713" y="2297113"/>
                <a:ext cx="709612" cy="9525"/>
              </a:xfrm>
              <a:custGeom>
                <a:avLst/>
                <a:gdLst>
                  <a:gd name="T0" fmla="*/ 16 w 2383"/>
                  <a:gd name="T1" fmla="*/ 0 h 32"/>
                  <a:gd name="T2" fmla="*/ 240 w 2383"/>
                  <a:gd name="T3" fmla="*/ 0 h 32"/>
                  <a:gd name="T4" fmla="*/ 256 w 2383"/>
                  <a:gd name="T5" fmla="*/ 16 h 32"/>
                  <a:gd name="T6" fmla="*/ 240 w 2383"/>
                  <a:gd name="T7" fmla="*/ 32 h 32"/>
                  <a:gd name="T8" fmla="*/ 16 w 2383"/>
                  <a:gd name="T9" fmla="*/ 32 h 32"/>
                  <a:gd name="T10" fmla="*/ 0 w 2383"/>
                  <a:gd name="T11" fmla="*/ 16 h 32"/>
                  <a:gd name="T12" fmla="*/ 16 w 2383"/>
                  <a:gd name="T13" fmla="*/ 0 h 32"/>
                  <a:gd name="T14" fmla="*/ 400 w 2383"/>
                  <a:gd name="T15" fmla="*/ 0 h 32"/>
                  <a:gd name="T16" fmla="*/ 624 w 2383"/>
                  <a:gd name="T17" fmla="*/ 0 h 32"/>
                  <a:gd name="T18" fmla="*/ 640 w 2383"/>
                  <a:gd name="T19" fmla="*/ 16 h 32"/>
                  <a:gd name="T20" fmla="*/ 624 w 2383"/>
                  <a:gd name="T21" fmla="*/ 32 h 32"/>
                  <a:gd name="T22" fmla="*/ 400 w 2383"/>
                  <a:gd name="T23" fmla="*/ 32 h 32"/>
                  <a:gd name="T24" fmla="*/ 384 w 2383"/>
                  <a:gd name="T25" fmla="*/ 16 h 32"/>
                  <a:gd name="T26" fmla="*/ 400 w 2383"/>
                  <a:gd name="T27" fmla="*/ 0 h 32"/>
                  <a:gd name="T28" fmla="*/ 784 w 2383"/>
                  <a:gd name="T29" fmla="*/ 0 h 32"/>
                  <a:gd name="T30" fmla="*/ 1008 w 2383"/>
                  <a:gd name="T31" fmla="*/ 0 h 32"/>
                  <a:gd name="T32" fmla="*/ 1024 w 2383"/>
                  <a:gd name="T33" fmla="*/ 16 h 32"/>
                  <a:gd name="T34" fmla="*/ 1008 w 2383"/>
                  <a:gd name="T35" fmla="*/ 32 h 32"/>
                  <a:gd name="T36" fmla="*/ 784 w 2383"/>
                  <a:gd name="T37" fmla="*/ 32 h 32"/>
                  <a:gd name="T38" fmla="*/ 768 w 2383"/>
                  <a:gd name="T39" fmla="*/ 16 h 32"/>
                  <a:gd name="T40" fmla="*/ 784 w 2383"/>
                  <a:gd name="T41" fmla="*/ 0 h 32"/>
                  <a:gd name="T42" fmla="*/ 1168 w 2383"/>
                  <a:gd name="T43" fmla="*/ 0 h 32"/>
                  <a:gd name="T44" fmla="*/ 1392 w 2383"/>
                  <a:gd name="T45" fmla="*/ 0 h 32"/>
                  <a:gd name="T46" fmla="*/ 1408 w 2383"/>
                  <a:gd name="T47" fmla="*/ 16 h 32"/>
                  <a:gd name="T48" fmla="*/ 1392 w 2383"/>
                  <a:gd name="T49" fmla="*/ 32 h 32"/>
                  <a:gd name="T50" fmla="*/ 1168 w 2383"/>
                  <a:gd name="T51" fmla="*/ 32 h 32"/>
                  <a:gd name="T52" fmla="*/ 1152 w 2383"/>
                  <a:gd name="T53" fmla="*/ 16 h 32"/>
                  <a:gd name="T54" fmla="*/ 1168 w 2383"/>
                  <a:gd name="T55" fmla="*/ 0 h 32"/>
                  <a:gd name="T56" fmla="*/ 1552 w 2383"/>
                  <a:gd name="T57" fmla="*/ 0 h 32"/>
                  <a:gd name="T58" fmla="*/ 1776 w 2383"/>
                  <a:gd name="T59" fmla="*/ 0 h 32"/>
                  <a:gd name="T60" fmla="*/ 1792 w 2383"/>
                  <a:gd name="T61" fmla="*/ 16 h 32"/>
                  <a:gd name="T62" fmla="*/ 1776 w 2383"/>
                  <a:gd name="T63" fmla="*/ 32 h 32"/>
                  <a:gd name="T64" fmla="*/ 1552 w 2383"/>
                  <a:gd name="T65" fmla="*/ 32 h 32"/>
                  <a:gd name="T66" fmla="*/ 1536 w 2383"/>
                  <a:gd name="T67" fmla="*/ 16 h 32"/>
                  <a:gd name="T68" fmla="*/ 1552 w 2383"/>
                  <a:gd name="T69" fmla="*/ 0 h 32"/>
                  <a:gd name="T70" fmla="*/ 1936 w 2383"/>
                  <a:gd name="T71" fmla="*/ 0 h 32"/>
                  <a:gd name="T72" fmla="*/ 2160 w 2383"/>
                  <a:gd name="T73" fmla="*/ 0 h 32"/>
                  <a:gd name="T74" fmla="*/ 2176 w 2383"/>
                  <a:gd name="T75" fmla="*/ 16 h 32"/>
                  <a:gd name="T76" fmla="*/ 2160 w 2383"/>
                  <a:gd name="T77" fmla="*/ 32 h 32"/>
                  <a:gd name="T78" fmla="*/ 1936 w 2383"/>
                  <a:gd name="T79" fmla="*/ 32 h 32"/>
                  <a:gd name="T80" fmla="*/ 1920 w 2383"/>
                  <a:gd name="T81" fmla="*/ 16 h 32"/>
                  <a:gd name="T82" fmla="*/ 1936 w 2383"/>
                  <a:gd name="T83" fmla="*/ 0 h 32"/>
                  <a:gd name="T84" fmla="*/ 2320 w 2383"/>
                  <a:gd name="T85" fmla="*/ 0 h 32"/>
                  <a:gd name="T86" fmla="*/ 2367 w 2383"/>
                  <a:gd name="T87" fmla="*/ 0 h 32"/>
                  <a:gd name="T88" fmla="*/ 2383 w 2383"/>
                  <a:gd name="T89" fmla="*/ 16 h 32"/>
                  <a:gd name="T90" fmla="*/ 2367 w 2383"/>
                  <a:gd name="T91" fmla="*/ 32 h 32"/>
                  <a:gd name="T92" fmla="*/ 2320 w 2383"/>
                  <a:gd name="T93" fmla="*/ 32 h 32"/>
                  <a:gd name="T94" fmla="*/ 2304 w 2383"/>
                  <a:gd name="T95" fmla="*/ 16 h 32"/>
                  <a:gd name="T96" fmla="*/ 2320 w 2383"/>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3" h="32">
                    <a:moveTo>
                      <a:pt x="16" y="0"/>
                    </a:moveTo>
                    <a:lnTo>
                      <a:pt x="240" y="0"/>
                    </a:lnTo>
                    <a:cubicBezTo>
                      <a:pt x="249" y="0"/>
                      <a:pt x="256" y="8"/>
                      <a:pt x="256" y="16"/>
                    </a:cubicBezTo>
                    <a:cubicBezTo>
                      <a:pt x="256" y="25"/>
                      <a:pt x="249" y="32"/>
                      <a:pt x="240" y="32"/>
                    </a:cubicBezTo>
                    <a:lnTo>
                      <a:pt x="16" y="32"/>
                    </a:lnTo>
                    <a:cubicBezTo>
                      <a:pt x="8" y="32"/>
                      <a:pt x="0" y="25"/>
                      <a:pt x="0" y="16"/>
                    </a:cubicBezTo>
                    <a:cubicBezTo>
                      <a:pt x="0" y="8"/>
                      <a:pt x="8" y="0"/>
                      <a:pt x="16" y="0"/>
                    </a:cubicBezTo>
                    <a:close/>
                    <a:moveTo>
                      <a:pt x="400" y="0"/>
                    </a:moveTo>
                    <a:lnTo>
                      <a:pt x="624" y="0"/>
                    </a:lnTo>
                    <a:cubicBezTo>
                      <a:pt x="633" y="0"/>
                      <a:pt x="640" y="8"/>
                      <a:pt x="640" y="16"/>
                    </a:cubicBezTo>
                    <a:cubicBezTo>
                      <a:pt x="640" y="25"/>
                      <a:pt x="633" y="32"/>
                      <a:pt x="624" y="32"/>
                    </a:cubicBezTo>
                    <a:lnTo>
                      <a:pt x="400" y="32"/>
                    </a:lnTo>
                    <a:cubicBezTo>
                      <a:pt x="392" y="32"/>
                      <a:pt x="384" y="25"/>
                      <a:pt x="384" y="16"/>
                    </a:cubicBezTo>
                    <a:cubicBezTo>
                      <a:pt x="384" y="8"/>
                      <a:pt x="392" y="0"/>
                      <a:pt x="400" y="0"/>
                    </a:cubicBezTo>
                    <a:close/>
                    <a:moveTo>
                      <a:pt x="784" y="0"/>
                    </a:moveTo>
                    <a:lnTo>
                      <a:pt x="1008" y="0"/>
                    </a:lnTo>
                    <a:cubicBezTo>
                      <a:pt x="1017" y="0"/>
                      <a:pt x="1024" y="8"/>
                      <a:pt x="1024" y="16"/>
                    </a:cubicBezTo>
                    <a:cubicBezTo>
                      <a:pt x="1024" y="25"/>
                      <a:pt x="1017" y="32"/>
                      <a:pt x="1008" y="32"/>
                    </a:cubicBezTo>
                    <a:lnTo>
                      <a:pt x="784" y="32"/>
                    </a:lnTo>
                    <a:cubicBezTo>
                      <a:pt x="776" y="32"/>
                      <a:pt x="768" y="25"/>
                      <a:pt x="768" y="16"/>
                    </a:cubicBezTo>
                    <a:cubicBezTo>
                      <a:pt x="768" y="8"/>
                      <a:pt x="776" y="0"/>
                      <a:pt x="784" y="0"/>
                    </a:cubicBezTo>
                    <a:close/>
                    <a:moveTo>
                      <a:pt x="1168" y="0"/>
                    </a:moveTo>
                    <a:lnTo>
                      <a:pt x="1392" y="0"/>
                    </a:lnTo>
                    <a:cubicBezTo>
                      <a:pt x="1401" y="0"/>
                      <a:pt x="1408" y="8"/>
                      <a:pt x="1408" y="16"/>
                    </a:cubicBezTo>
                    <a:cubicBezTo>
                      <a:pt x="1408" y="25"/>
                      <a:pt x="1401" y="32"/>
                      <a:pt x="1392" y="32"/>
                    </a:cubicBezTo>
                    <a:lnTo>
                      <a:pt x="1168" y="32"/>
                    </a:lnTo>
                    <a:cubicBezTo>
                      <a:pt x="1160" y="32"/>
                      <a:pt x="1152" y="25"/>
                      <a:pt x="1152" y="16"/>
                    </a:cubicBezTo>
                    <a:cubicBezTo>
                      <a:pt x="1152" y="8"/>
                      <a:pt x="1160" y="0"/>
                      <a:pt x="1168" y="0"/>
                    </a:cubicBezTo>
                    <a:close/>
                    <a:moveTo>
                      <a:pt x="1552" y="0"/>
                    </a:moveTo>
                    <a:lnTo>
                      <a:pt x="1776" y="0"/>
                    </a:lnTo>
                    <a:cubicBezTo>
                      <a:pt x="1785" y="0"/>
                      <a:pt x="1792" y="8"/>
                      <a:pt x="1792" y="16"/>
                    </a:cubicBezTo>
                    <a:cubicBezTo>
                      <a:pt x="1792" y="25"/>
                      <a:pt x="1785" y="32"/>
                      <a:pt x="1776" y="32"/>
                    </a:cubicBezTo>
                    <a:lnTo>
                      <a:pt x="1552" y="32"/>
                    </a:lnTo>
                    <a:cubicBezTo>
                      <a:pt x="1544" y="32"/>
                      <a:pt x="1536" y="25"/>
                      <a:pt x="1536" y="16"/>
                    </a:cubicBezTo>
                    <a:cubicBezTo>
                      <a:pt x="1536" y="8"/>
                      <a:pt x="1544" y="0"/>
                      <a:pt x="1552" y="0"/>
                    </a:cubicBezTo>
                    <a:close/>
                    <a:moveTo>
                      <a:pt x="1936" y="0"/>
                    </a:moveTo>
                    <a:lnTo>
                      <a:pt x="2160" y="0"/>
                    </a:lnTo>
                    <a:cubicBezTo>
                      <a:pt x="2169" y="0"/>
                      <a:pt x="2176" y="8"/>
                      <a:pt x="2176" y="16"/>
                    </a:cubicBezTo>
                    <a:cubicBezTo>
                      <a:pt x="2176" y="25"/>
                      <a:pt x="2169" y="32"/>
                      <a:pt x="2160" y="32"/>
                    </a:cubicBezTo>
                    <a:lnTo>
                      <a:pt x="1936" y="32"/>
                    </a:lnTo>
                    <a:cubicBezTo>
                      <a:pt x="1928" y="32"/>
                      <a:pt x="1920" y="25"/>
                      <a:pt x="1920" y="16"/>
                    </a:cubicBezTo>
                    <a:cubicBezTo>
                      <a:pt x="1920" y="8"/>
                      <a:pt x="1928" y="0"/>
                      <a:pt x="1936" y="0"/>
                    </a:cubicBezTo>
                    <a:close/>
                    <a:moveTo>
                      <a:pt x="2320" y="0"/>
                    </a:moveTo>
                    <a:lnTo>
                      <a:pt x="2367" y="0"/>
                    </a:lnTo>
                    <a:cubicBezTo>
                      <a:pt x="2376" y="0"/>
                      <a:pt x="2383" y="8"/>
                      <a:pt x="2383" y="16"/>
                    </a:cubicBezTo>
                    <a:cubicBezTo>
                      <a:pt x="2383" y="25"/>
                      <a:pt x="2376" y="32"/>
                      <a:pt x="2367" y="32"/>
                    </a:cubicBezTo>
                    <a:lnTo>
                      <a:pt x="2320" y="32"/>
                    </a:lnTo>
                    <a:cubicBezTo>
                      <a:pt x="2312" y="32"/>
                      <a:pt x="2304" y="25"/>
                      <a:pt x="2304" y="16"/>
                    </a:cubicBezTo>
                    <a:cubicBezTo>
                      <a:pt x="2304" y="8"/>
                      <a:pt x="2312" y="0"/>
                      <a:pt x="2320"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8" name="Freeform 88">
                <a:extLst>
                  <a:ext uri="{FF2B5EF4-FFF2-40B4-BE49-F238E27FC236}">
                    <a16:creationId xmlns:a16="http://schemas.microsoft.com/office/drawing/2014/main" id="{4BD98C99-9045-4C75-8BEF-8560D03FC71E}"/>
                  </a:ext>
                </a:extLst>
              </p:cNvPr>
              <p:cNvSpPr>
                <a:spLocks/>
              </p:cNvSpPr>
              <p:nvPr/>
            </p:nvSpPr>
            <p:spPr bwMode="auto">
              <a:xfrm>
                <a:off x="10321925"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9" name="Rectangle 89">
                <a:extLst>
                  <a:ext uri="{FF2B5EF4-FFF2-40B4-BE49-F238E27FC236}">
                    <a16:creationId xmlns:a16="http://schemas.microsoft.com/office/drawing/2014/main" id="{B48EEDF1-C9C9-4C43-BDB8-9CE7C363D3E7}"/>
                  </a:ext>
                </a:extLst>
              </p:cNvPr>
              <p:cNvSpPr>
                <a:spLocks noChangeArrowheads="1"/>
              </p:cNvSpPr>
              <p:nvPr/>
            </p:nvSpPr>
            <p:spPr bwMode="auto">
              <a:xfrm>
                <a:off x="8134350" y="2152650"/>
                <a:ext cx="4286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generat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0" name="Rectangle 90">
                <a:extLst>
                  <a:ext uri="{FF2B5EF4-FFF2-40B4-BE49-F238E27FC236}">
                    <a16:creationId xmlns:a16="http://schemas.microsoft.com/office/drawing/2014/main" id="{4026A246-DCD7-427F-B92A-C5D4B8DB79D6}"/>
                  </a:ext>
                </a:extLst>
              </p:cNvPr>
              <p:cNvSpPr>
                <a:spLocks noChangeArrowheads="1"/>
              </p:cNvSpPr>
              <p:nvPr/>
            </p:nvSpPr>
            <p:spPr bwMode="auto">
              <a:xfrm>
                <a:off x="9772650" y="2165350"/>
                <a:ext cx="4857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firmed</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1" name="Rectangle 91">
                <a:extLst>
                  <a:ext uri="{FF2B5EF4-FFF2-40B4-BE49-F238E27FC236}">
                    <a16:creationId xmlns:a16="http://schemas.microsoft.com/office/drawing/2014/main" id="{6D2A053D-3CA0-46C7-ACF2-9755D265017C}"/>
                  </a:ext>
                </a:extLst>
              </p:cNvPr>
              <p:cNvSpPr>
                <a:spLocks noChangeArrowheads="1"/>
              </p:cNvSpPr>
              <p:nvPr/>
            </p:nvSpPr>
            <p:spPr bwMode="auto">
              <a:xfrm>
                <a:off x="9907588" y="2284413"/>
                <a:ext cx="21907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to</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502" name="Freeform 92">
                <a:extLst>
                  <a:ext uri="{FF2B5EF4-FFF2-40B4-BE49-F238E27FC236}">
                    <a16:creationId xmlns:a16="http://schemas.microsoft.com/office/drawing/2014/main" id="{0BA08B86-DEA7-4C69-B160-AA2E8427F803}"/>
                  </a:ext>
                </a:extLst>
              </p:cNvPr>
              <p:cNvSpPr>
                <a:spLocks noEditPoints="1"/>
              </p:cNvSpPr>
              <p:nvPr/>
            </p:nvSpPr>
            <p:spPr bwMode="auto">
              <a:xfrm>
                <a:off x="7996238" y="2297113"/>
                <a:ext cx="625475" cy="9525"/>
              </a:xfrm>
              <a:custGeom>
                <a:avLst/>
                <a:gdLst>
                  <a:gd name="T0" fmla="*/ 16 w 2097"/>
                  <a:gd name="T1" fmla="*/ 0 h 32"/>
                  <a:gd name="T2" fmla="*/ 240 w 2097"/>
                  <a:gd name="T3" fmla="*/ 0 h 32"/>
                  <a:gd name="T4" fmla="*/ 256 w 2097"/>
                  <a:gd name="T5" fmla="*/ 16 h 32"/>
                  <a:gd name="T6" fmla="*/ 240 w 2097"/>
                  <a:gd name="T7" fmla="*/ 32 h 32"/>
                  <a:gd name="T8" fmla="*/ 16 w 2097"/>
                  <a:gd name="T9" fmla="*/ 32 h 32"/>
                  <a:gd name="T10" fmla="*/ 0 w 2097"/>
                  <a:gd name="T11" fmla="*/ 16 h 32"/>
                  <a:gd name="T12" fmla="*/ 16 w 2097"/>
                  <a:gd name="T13" fmla="*/ 0 h 32"/>
                  <a:gd name="T14" fmla="*/ 400 w 2097"/>
                  <a:gd name="T15" fmla="*/ 0 h 32"/>
                  <a:gd name="T16" fmla="*/ 624 w 2097"/>
                  <a:gd name="T17" fmla="*/ 0 h 32"/>
                  <a:gd name="T18" fmla="*/ 640 w 2097"/>
                  <a:gd name="T19" fmla="*/ 16 h 32"/>
                  <a:gd name="T20" fmla="*/ 624 w 2097"/>
                  <a:gd name="T21" fmla="*/ 32 h 32"/>
                  <a:gd name="T22" fmla="*/ 400 w 2097"/>
                  <a:gd name="T23" fmla="*/ 32 h 32"/>
                  <a:gd name="T24" fmla="*/ 384 w 2097"/>
                  <a:gd name="T25" fmla="*/ 16 h 32"/>
                  <a:gd name="T26" fmla="*/ 400 w 2097"/>
                  <a:gd name="T27" fmla="*/ 0 h 32"/>
                  <a:gd name="T28" fmla="*/ 784 w 2097"/>
                  <a:gd name="T29" fmla="*/ 0 h 32"/>
                  <a:gd name="T30" fmla="*/ 1008 w 2097"/>
                  <a:gd name="T31" fmla="*/ 0 h 32"/>
                  <a:gd name="T32" fmla="*/ 1024 w 2097"/>
                  <a:gd name="T33" fmla="*/ 16 h 32"/>
                  <a:gd name="T34" fmla="*/ 1008 w 2097"/>
                  <a:gd name="T35" fmla="*/ 32 h 32"/>
                  <a:gd name="T36" fmla="*/ 784 w 2097"/>
                  <a:gd name="T37" fmla="*/ 32 h 32"/>
                  <a:gd name="T38" fmla="*/ 768 w 2097"/>
                  <a:gd name="T39" fmla="*/ 16 h 32"/>
                  <a:gd name="T40" fmla="*/ 784 w 2097"/>
                  <a:gd name="T41" fmla="*/ 0 h 32"/>
                  <a:gd name="T42" fmla="*/ 1168 w 2097"/>
                  <a:gd name="T43" fmla="*/ 0 h 32"/>
                  <a:gd name="T44" fmla="*/ 1392 w 2097"/>
                  <a:gd name="T45" fmla="*/ 0 h 32"/>
                  <a:gd name="T46" fmla="*/ 1408 w 2097"/>
                  <a:gd name="T47" fmla="*/ 16 h 32"/>
                  <a:gd name="T48" fmla="*/ 1392 w 2097"/>
                  <a:gd name="T49" fmla="*/ 32 h 32"/>
                  <a:gd name="T50" fmla="*/ 1168 w 2097"/>
                  <a:gd name="T51" fmla="*/ 32 h 32"/>
                  <a:gd name="T52" fmla="*/ 1152 w 2097"/>
                  <a:gd name="T53" fmla="*/ 16 h 32"/>
                  <a:gd name="T54" fmla="*/ 1168 w 2097"/>
                  <a:gd name="T55" fmla="*/ 0 h 32"/>
                  <a:gd name="T56" fmla="*/ 1552 w 2097"/>
                  <a:gd name="T57" fmla="*/ 0 h 32"/>
                  <a:gd name="T58" fmla="*/ 1776 w 2097"/>
                  <a:gd name="T59" fmla="*/ 0 h 32"/>
                  <a:gd name="T60" fmla="*/ 1792 w 2097"/>
                  <a:gd name="T61" fmla="*/ 16 h 32"/>
                  <a:gd name="T62" fmla="*/ 1776 w 2097"/>
                  <a:gd name="T63" fmla="*/ 32 h 32"/>
                  <a:gd name="T64" fmla="*/ 1552 w 2097"/>
                  <a:gd name="T65" fmla="*/ 32 h 32"/>
                  <a:gd name="T66" fmla="*/ 1536 w 2097"/>
                  <a:gd name="T67" fmla="*/ 16 h 32"/>
                  <a:gd name="T68" fmla="*/ 1552 w 2097"/>
                  <a:gd name="T69" fmla="*/ 0 h 32"/>
                  <a:gd name="T70" fmla="*/ 1936 w 2097"/>
                  <a:gd name="T71" fmla="*/ 0 h 32"/>
                  <a:gd name="T72" fmla="*/ 2081 w 2097"/>
                  <a:gd name="T73" fmla="*/ 0 h 32"/>
                  <a:gd name="T74" fmla="*/ 2097 w 2097"/>
                  <a:gd name="T75" fmla="*/ 16 h 32"/>
                  <a:gd name="T76" fmla="*/ 2081 w 2097"/>
                  <a:gd name="T77" fmla="*/ 32 h 32"/>
                  <a:gd name="T78" fmla="*/ 1936 w 2097"/>
                  <a:gd name="T79" fmla="*/ 32 h 32"/>
                  <a:gd name="T80" fmla="*/ 1920 w 2097"/>
                  <a:gd name="T81" fmla="*/ 16 h 32"/>
                  <a:gd name="T82" fmla="*/ 1936 w 2097"/>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7" h="32">
                    <a:moveTo>
                      <a:pt x="16" y="0"/>
                    </a:moveTo>
                    <a:lnTo>
                      <a:pt x="240" y="0"/>
                    </a:lnTo>
                    <a:cubicBezTo>
                      <a:pt x="249" y="0"/>
                      <a:pt x="256" y="8"/>
                      <a:pt x="256" y="16"/>
                    </a:cubicBezTo>
                    <a:cubicBezTo>
                      <a:pt x="256" y="25"/>
                      <a:pt x="249" y="32"/>
                      <a:pt x="240" y="32"/>
                    </a:cubicBezTo>
                    <a:lnTo>
                      <a:pt x="16" y="32"/>
                    </a:lnTo>
                    <a:cubicBezTo>
                      <a:pt x="7" y="32"/>
                      <a:pt x="0" y="25"/>
                      <a:pt x="0" y="16"/>
                    </a:cubicBezTo>
                    <a:cubicBezTo>
                      <a:pt x="0" y="8"/>
                      <a:pt x="7" y="0"/>
                      <a:pt x="16" y="0"/>
                    </a:cubicBezTo>
                    <a:close/>
                    <a:moveTo>
                      <a:pt x="400" y="0"/>
                    </a:moveTo>
                    <a:lnTo>
                      <a:pt x="624" y="0"/>
                    </a:lnTo>
                    <a:cubicBezTo>
                      <a:pt x="633" y="0"/>
                      <a:pt x="640" y="8"/>
                      <a:pt x="640" y="16"/>
                    </a:cubicBezTo>
                    <a:cubicBezTo>
                      <a:pt x="640" y="25"/>
                      <a:pt x="633" y="32"/>
                      <a:pt x="624" y="32"/>
                    </a:cubicBezTo>
                    <a:lnTo>
                      <a:pt x="400" y="32"/>
                    </a:lnTo>
                    <a:cubicBezTo>
                      <a:pt x="391" y="32"/>
                      <a:pt x="384" y="25"/>
                      <a:pt x="384" y="16"/>
                    </a:cubicBezTo>
                    <a:cubicBezTo>
                      <a:pt x="384" y="8"/>
                      <a:pt x="391" y="0"/>
                      <a:pt x="400" y="0"/>
                    </a:cubicBezTo>
                    <a:close/>
                    <a:moveTo>
                      <a:pt x="784" y="0"/>
                    </a:moveTo>
                    <a:lnTo>
                      <a:pt x="1008" y="0"/>
                    </a:lnTo>
                    <a:cubicBezTo>
                      <a:pt x="1017" y="0"/>
                      <a:pt x="1024" y="8"/>
                      <a:pt x="1024" y="16"/>
                    </a:cubicBezTo>
                    <a:cubicBezTo>
                      <a:pt x="1024" y="25"/>
                      <a:pt x="1017" y="32"/>
                      <a:pt x="1008" y="32"/>
                    </a:cubicBezTo>
                    <a:lnTo>
                      <a:pt x="784" y="32"/>
                    </a:lnTo>
                    <a:cubicBezTo>
                      <a:pt x="775" y="32"/>
                      <a:pt x="768" y="25"/>
                      <a:pt x="768" y="16"/>
                    </a:cubicBezTo>
                    <a:cubicBezTo>
                      <a:pt x="768" y="8"/>
                      <a:pt x="775" y="0"/>
                      <a:pt x="784" y="0"/>
                    </a:cubicBezTo>
                    <a:close/>
                    <a:moveTo>
                      <a:pt x="1168" y="0"/>
                    </a:moveTo>
                    <a:lnTo>
                      <a:pt x="1392" y="0"/>
                    </a:lnTo>
                    <a:cubicBezTo>
                      <a:pt x="1401" y="0"/>
                      <a:pt x="1408" y="8"/>
                      <a:pt x="1408" y="16"/>
                    </a:cubicBezTo>
                    <a:cubicBezTo>
                      <a:pt x="1408" y="25"/>
                      <a:pt x="1401" y="32"/>
                      <a:pt x="1392" y="32"/>
                    </a:cubicBezTo>
                    <a:lnTo>
                      <a:pt x="1168" y="32"/>
                    </a:lnTo>
                    <a:cubicBezTo>
                      <a:pt x="1159" y="32"/>
                      <a:pt x="1152" y="25"/>
                      <a:pt x="1152" y="16"/>
                    </a:cubicBezTo>
                    <a:cubicBezTo>
                      <a:pt x="1152" y="8"/>
                      <a:pt x="1159" y="0"/>
                      <a:pt x="1168" y="0"/>
                    </a:cubicBezTo>
                    <a:close/>
                    <a:moveTo>
                      <a:pt x="1552" y="0"/>
                    </a:moveTo>
                    <a:lnTo>
                      <a:pt x="1776" y="0"/>
                    </a:lnTo>
                    <a:cubicBezTo>
                      <a:pt x="1785" y="0"/>
                      <a:pt x="1792" y="8"/>
                      <a:pt x="1792" y="16"/>
                    </a:cubicBezTo>
                    <a:cubicBezTo>
                      <a:pt x="1792" y="25"/>
                      <a:pt x="1785" y="32"/>
                      <a:pt x="1776" y="32"/>
                    </a:cubicBezTo>
                    <a:lnTo>
                      <a:pt x="1552" y="32"/>
                    </a:lnTo>
                    <a:cubicBezTo>
                      <a:pt x="1543" y="32"/>
                      <a:pt x="1536" y="25"/>
                      <a:pt x="1536" y="16"/>
                    </a:cubicBezTo>
                    <a:cubicBezTo>
                      <a:pt x="1536" y="8"/>
                      <a:pt x="1543" y="0"/>
                      <a:pt x="1552" y="0"/>
                    </a:cubicBezTo>
                    <a:close/>
                    <a:moveTo>
                      <a:pt x="1936" y="0"/>
                    </a:moveTo>
                    <a:lnTo>
                      <a:pt x="2081" y="0"/>
                    </a:lnTo>
                    <a:cubicBezTo>
                      <a:pt x="2090" y="0"/>
                      <a:pt x="2097" y="8"/>
                      <a:pt x="2097" y="16"/>
                    </a:cubicBezTo>
                    <a:cubicBezTo>
                      <a:pt x="2097" y="25"/>
                      <a:pt x="2090" y="32"/>
                      <a:pt x="2081" y="32"/>
                    </a:cubicBezTo>
                    <a:lnTo>
                      <a:pt x="1936" y="32"/>
                    </a:lnTo>
                    <a:cubicBezTo>
                      <a:pt x="1927" y="32"/>
                      <a:pt x="1920" y="25"/>
                      <a:pt x="1920" y="16"/>
                    </a:cubicBezTo>
                    <a:cubicBezTo>
                      <a:pt x="1920" y="8"/>
                      <a:pt x="1927" y="0"/>
                      <a:pt x="193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3" name="Freeform 93">
                <a:extLst>
                  <a:ext uri="{FF2B5EF4-FFF2-40B4-BE49-F238E27FC236}">
                    <a16:creationId xmlns:a16="http://schemas.microsoft.com/office/drawing/2014/main" id="{9E07D50D-E08B-4DFE-BB95-32FF449BA051}"/>
                  </a:ext>
                </a:extLst>
              </p:cNvPr>
              <p:cNvSpPr>
                <a:spLocks/>
              </p:cNvSpPr>
              <p:nvPr/>
            </p:nvSpPr>
            <p:spPr bwMode="auto">
              <a:xfrm>
                <a:off x="8596313" y="2260600"/>
                <a:ext cx="82550"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52" name="Freeform 94">
              <a:extLst>
                <a:ext uri="{FF2B5EF4-FFF2-40B4-BE49-F238E27FC236}">
                  <a16:creationId xmlns:a16="http://schemas.microsoft.com/office/drawing/2014/main" id="{42CE9BDF-029B-441F-92FE-07A5DD25E631}"/>
                </a:ext>
              </a:extLst>
            </p:cNvPr>
            <p:cNvSpPr>
              <a:spLocks/>
            </p:cNvSpPr>
            <p:nvPr/>
          </p:nvSpPr>
          <p:spPr bwMode="auto">
            <a:xfrm>
              <a:off x="7519988" y="2482850"/>
              <a:ext cx="271462" cy="2619375"/>
            </a:xfrm>
            <a:custGeom>
              <a:avLst/>
              <a:gdLst>
                <a:gd name="T0" fmla="*/ 0 w 171"/>
                <a:gd name="T1" fmla="*/ 0 h 1650"/>
                <a:gd name="T2" fmla="*/ 0 w 171"/>
                <a:gd name="T3" fmla="*/ 1650 h 1650"/>
                <a:gd name="T4" fmla="*/ 171 w 171"/>
                <a:gd name="T5" fmla="*/ 1650 h 1650"/>
              </a:gdLst>
              <a:ahLst/>
              <a:cxnLst>
                <a:cxn ang="0">
                  <a:pos x="T0" y="T1"/>
                </a:cxn>
                <a:cxn ang="0">
                  <a:pos x="T2" y="T3"/>
                </a:cxn>
                <a:cxn ang="0">
                  <a:pos x="T4" y="T5"/>
                </a:cxn>
              </a:cxnLst>
              <a:rect l="0" t="0" r="r" b="b"/>
              <a:pathLst>
                <a:path w="171" h="1650">
                  <a:moveTo>
                    <a:pt x="0" y="0"/>
                  </a:moveTo>
                  <a:lnTo>
                    <a:pt x="0" y="1650"/>
                  </a:lnTo>
                  <a:lnTo>
                    <a:pt x="171" y="165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3" name="Freeform 95">
              <a:extLst>
                <a:ext uri="{FF2B5EF4-FFF2-40B4-BE49-F238E27FC236}">
                  <a16:creationId xmlns:a16="http://schemas.microsoft.com/office/drawing/2014/main" id="{8C219A56-6AB6-4B84-98AD-923DBE821682}"/>
                </a:ext>
              </a:extLst>
            </p:cNvPr>
            <p:cNvSpPr>
              <a:spLocks/>
            </p:cNvSpPr>
            <p:nvPr/>
          </p:nvSpPr>
          <p:spPr bwMode="auto">
            <a:xfrm>
              <a:off x="7772400" y="5059363"/>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4" name="Freeform 96">
              <a:extLst>
                <a:ext uri="{FF2B5EF4-FFF2-40B4-BE49-F238E27FC236}">
                  <a16:creationId xmlns:a16="http://schemas.microsoft.com/office/drawing/2014/main" id="{C61BED29-5EEE-412B-AC4C-C23BA953980D}"/>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5" name="Freeform 97">
              <a:extLst>
                <a:ext uri="{FF2B5EF4-FFF2-40B4-BE49-F238E27FC236}">
                  <a16:creationId xmlns:a16="http://schemas.microsoft.com/office/drawing/2014/main" id="{F1FDD0D2-A2D7-445F-B18B-7BB1702856D6}"/>
                </a:ext>
              </a:extLst>
            </p:cNvPr>
            <p:cNvSpPr>
              <a:spLocks/>
            </p:cNvSpPr>
            <p:nvPr/>
          </p:nvSpPr>
          <p:spPr bwMode="auto">
            <a:xfrm>
              <a:off x="7854950" y="3217863"/>
              <a:ext cx="962025"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6" name="Rectangle 98">
              <a:extLst>
                <a:ext uri="{FF2B5EF4-FFF2-40B4-BE49-F238E27FC236}">
                  <a16:creationId xmlns:a16="http://schemas.microsoft.com/office/drawing/2014/main" id="{F29E1ABE-25B1-419E-9628-2B6DDC4C4B3D}"/>
                </a:ext>
              </a:extLst>
            </p:cNvPr>
            <p:cNvSpPr>
              <a:spLocks noChangeArrowheads="1"/>
            </p:cNvSpPr>
            <p:nvPr/>
          </p:nvSpPr>
          <p:spPr bwMode="auto">
            <a:xfrm>
              <a:off x="8183563" y="3316288"/>
              <a:ext cx="4095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co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57" name="Freeform 99">
              <a:extLst>
                <a:ext uri="{FF2B5EF4-FFF2-40B4-BE49-F238E27FC236}">
                  <a16:creationId xmlns:a16="http://schemas.microsoft.com/office/drawing/2014/main" id="{1EDB5579-2A35-4B61-AF9F-0C7AE9ED1E50}"/>
                </a:ext>
              </a:extLst>
            </p:cNvPr>
            <p:cNvSpPr>
              <a:spLocks/>
            </p:cNvSpPr>
            <p:nvPr/>
          </p:nvSpPr>
          <p:spPr bwMode="auto">
            <a:xfrm>
              <a:off x="7519988" y="2482850"/>
              <a:ext cx="271462" cy="915988"/>
            </a:xfrm>
            <a:custGeom>
              <a:avLst/>
              <a:gdLst>
                <a:gd name="T0" fmla="*/ 0 w 171"/>
                <a:gd name="T1" fmla="*/ 0 h 577"/>
                <a:gd name="T2" fmla="*/ 0 w 171"/>
                <a:gd name="T3" fmla="*/ 577 h 577"/>
                <a:gd name="T4" fmla="*/ 171 w 171"/>
                <a:gd name="T5" fmla="*/ 577 h 577"/>
              </a:gdLst>
              <a:ahLst/>
              <a:cxnLst>
                <a:cxn ang="0">
                  <a:pos x="T0" y="T1"/>
                </a:cxn>
                <a:cxn ang="0">
                  <a:pos x="T2" y="T3"/>
                </a:cxn>
                <a:cxn ang="0">
                  <a:pos x="T4" y="T5"/>
                </a:cxn>
              </a:cxnLst>
              <a:rect l="0" t="0" r="r" b="b"/>
              <a:pathLst>
                <a:path w="171" h="577">
                  <a:moveTo>
                    <a:pt x="0" y="0"/>
                  </a:moveTo>
                  <a:lnTo>
                    <a:pt x="0" y="577"/>
                  </a:lnTo>
                  <a:lnTo>
                    <a:pt x="171" y="57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8" name="Freeform 100">
              <a:extLst>
                <a:ext uri="{FF2B5EF4-FFF2-40B4-BE49-F238E27FC236}">
                  <a16:creationId xmlns:a16="http://schemas.microsoft.com/office/drawing/2014/main" id="{68247EAD-5DB8-45F5-9B98-15F1DA68051C}"/>
                </a:ext>
              </a:extLst>
            </p:cNvPr>
            <p:cNvSpPr>
              <a:spLocks/>
            </p:cNvSpPr>
            <p:nvPr/>
          </p:nvSpPr>
          <p:spPr bwMode="auto">
            <a:xfrm>
              <a:off x="7772400" y="33575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9" name="Freeform 101">
              <a:extLst>
                <a:ext uri="{FF2B5EF4-FFF2-40B4-BE49-F238E27FC236}">
                  <a16:creationId xmlns:a16="http://schemas.microsoft.com/office/drawing/2014/main" id="{EFB27C93-6478-4288-B38F-FA9E54755F0F}"/>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0" name="Freeform 102">
              <a:extLst>
                <a:ext uri="{FF2B5EF4-FFF2-40B4-BE49-F238E27FC236}">
                  <a16:creationId xmlns:a16="http://schemas.microsoft.com/office/drawing/2014/main" id="{87F44652-8709-4CF6-9117-B61A7E6A6502}"/>
                </a:ext>
              </a:extLst>
            </p:cNvPr>
            <p:cNvSpPr>
              <a:spLocks/>
            </p:cNvSpPr>
            <p:nvPr/>
          </p:nvSpPr>
          <p:spPr bwMode="auto">
            <a:xfrm>
              <a:off x="7853363" y="3998913"/>
              <a:ext cx="962025" cy="363538"/>
            </a:xfrm>
            <a:custGeom>
              <a:avLst/>
              <a:gdLst>
                <a:gd name="T0" fmla="*/ 323 w 3232"/>
                <a:gd name="T1" fmla="*/ 1216 h 1216"/>
                <a:gd name="T2" fmla="*/ 2908 w 3232"/>
                <a:gd name="T3" fmla="*/ 1216 h 1216"/>
                <a:gd name="T4" fmla="*/ 3232 w 3232"/>
                <a:gd name="T5" fmla="*/ 893 h 1216"/>
                <a:gd name="T6" fmla="*/ 3232 w 3232"/>
                <a:gd name="T7" fmla="*/ 324 h 1216"/>
                <a:gd name="T8" fmla="*/ 2908 w 3232"/>
                <a:gd name="T9" fmla="*/ 0 h 1216"/>
                <a:gd name="T10" fmla="*/ 323 w 3232"/>
                <a:gd name="T11" fmla="*/ 0 h 1216"/>
                <a:gd name="T12" fmla="*/ 0 w 3232"/>
                <a:gd name="T13" fmla="*/ 324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2"/>
                    <a:pt x="3232" y="893"/>
                  </a:cubicBezTo>
                  <a:lnTo>
                    <a:pt x="3232" y="324"/>
                  </a:lnTo>
                  <a:cubicBezTo>
                    <a:pt x="3232" y="145"/>
                    <a:pt x="3087" y="0"/>
                    <a:pt x="2908" y="0"/>
                  </a:cubicBezTo>
                  <a:lnTo>
                    <a:pt x="323" y="0"/>
                  </a:lnTo>
                  <a:cubicBezTo>
                    <a:pt x="144" y="0"/>
                    <a:pt x="0" y="145"/>
                    <a:pt x="0" y="324"/>
                  </a:cubicBezTo>
                  <a:lnTo>
                    <a:pt x="0" y="893"/>
                  </a:lnTo>
                  <a:cubicBezTo>
                    <a:pt x="0" y="1072"/>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1" name="Rectangle 103">
              <a:extLst>
                <a:ext uri="{FF2B5EF4-FFF2-40B4-BE49-F238E27FC236}">
                  <a16:creationId xmlns:a16="http://schemas.microsoft.com/office/drawing/2014/main" id="{6A87EC00-5420-4BC9-9336-9D5B7551CF6A}"/>
                </a:ext>
              </a:extLst>
            </p:cNvPr>
            <p:cNvSpPr>
              <a:spLocks noChangeArrowheads="1"/>
            </p:cNvSpPr>
            <p:nvPr/>
          </p:nvSpPr>
          <p:spPr bwMode="auto">
            <a:xfrm>
              <a:off x="8059738" y="4097338"/>
              <a:ext cx="6715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di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2" name="Freeform 104">
              <a:extLst>
                <a:ext uri="{FF2B5EF4-FFF2-40B4-BE49-F238E27FC236}">
                  <a16:creationId xmlns:a16="http://schemas.microsoft.com/office/drawing/2014/main" id="{645E884D-9622-4401-9FE8-3CE3BDD20C7B}"/>
                </a:ext>
              </a:extLst>
            </p:cNvPr>
            <p:cNvSpPr>
              <a:spLocks/>
            </p:cNvSpPr>
            <p:nvPr/>
          </p:nvSpPr>
          <p:spPr bwMode="auto">
            <a:xfrm>
              <a:off x="7519988" y="2482850"/>
              <a:ext cx="269875" cy="1698625"/>
            </a:xfrm>
            <a:custGeom>
              <a:avLst/>
              <a:gdLst>
                <a:gd name="T0" fmla="*/ 0 w 170"/>
                <a:gd name="T1" fmla="*/ 0 h 1070"/>
                <a:gd name="T2" fmla="*/ 0 w 170"/>
                <a:gd name="T3" fmla="*/ 1070 h 1070"/>
                <a:gd name="T4" fmla="*/ 170 w 170"/>
                <a:gd name="T5" fmla="*/ 1070 h 1070"/>
              </a:gdLst>
              <a:ahLst/>
              <a:cxnLst>
                <a:cxn ang="0">
                  <a:pos x="T0" y="T1"/>
                </a:cxn>
                <a:cxn ang="0">
                  <a:pos x="T2" y="T3"/>
                </a:cxn>
                <a:cxn ang="0">
                  <a:pos x="T4" y="T5"/>
                </a:cxn>
              </a:cxnLst>
              <a:rect l="0" t="0" r="r" b="b"/>
              <a:pathLst>
                <a:path w="170" h="1070">
                  <a:moveTo>
                    <a:pt x="0" y="0"/>
                  </a:moveTo>
                  <a:lnTo>
                    <a:pt x="0" y="1070"/>
                  </a:lnTo>
                  <a:lnTo>
                    <a:pt x="170" y="107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3" name="Freeform 105">
              <a:extLst>
                <a:ext uri="{FF2B5EF4-FFF2-40B4-BE49-F238E27FC236}">
                  <a16:creationId xmlns:a16="http://schemas.microsoft.com/office/drawing/2014/main" id="{CD01FB27-5F7A-45CC-B367-42183A07311A}"/>
                </a:ext>
              </a:extLst>
            </p:cNvPr>
            <p:cNvSpPr>
              <a:spLocks/>
            </p:cNvSpPr>
            <p:nvPr/>
          </p:nvSpPr>
          <p:spPr bwMode="auto">
            <a:xfrm>
              <a:off x="7769225" y="4138613"/>
              <a:ext cx="84137" cy="84138"/>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4" name="Freeform 106">
              <a:extLst>
                <a:ext uri="{FF2B5EF4-FFF2-40B4-BE49-F238E27FC236}">
                  <a16:creationId xmlns:a16="http://schemas.microsoft.com/office/drawing/2014/main" id="{22E5FB60-011B-48C3-A1A0-F400591F3564}"/>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5" name="Freeform 107">
              <a:extLst>
                <a:ext uri="{FF2B5EF4-FFF2-40B4-BE49-F238E27FC236}">
                  <a16:creationId xmlns:a16="http://schemas.microsoft.com/office/drawing/2014/main" id="{32028619-3BF4-4ADF-90E1-29538156AE53}"/>
                </a:ext>
              </a:extLst>
            </p:cNvPr>
            <p:cNvSpPr>
              <a:spLocks/>
            </p:cNvSpPr>
            <p:nvPr/>
          </p:nvSpPr>
          <p:spPr bwMode="auto">
            <a:xfrm>
              <a:off x="4452938" y="2132013"/>
              <a:ext cx="962025" cy="361950"/>
            </a:xfrm>
            <a:custGeom>
              <a:avLst/>
              <a:gdLst>
                <a:gd name="T0" fmla="*/ 324 w 3232"/>
                <a:gd name="T1" fmla="*/ 1216 h 1216"/>
                <a:gd name="T2" fmla="*/ 2909 w 3232"/>
                <a:gd name="T3" fmla="*/ 1216 h 1216"/>
                <a:gd name="T4" fmla="*/ 3232 w 3232"/>
                <a:gd name="T5" fmla="*/ 893 h 1216"/>
                <a:gd name="T6" fmla="*/ 3232 w 3232"/>
                <a:gd name="T7" fmla="*/ 323 h 1216"/>
                <a:gd name="T8" fmla="*/ 2909 w 3232"/>
                <a:gd name="T9" fmla="*/ 0 h 1216"/>
                <a:gd name="T10" fmla="*/ 324 w 3232"/>
                <a:gd name="T11" fmla="*/ 0 h 1216"/>
                <a:gd name="T12" fmla="*/ 0 w 3232"/>
                <a:gd name="T13" fmla="*/ 323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1"/>
                    <a:pt x="3232" y="893"/>
                  </a:cubicBezTo>
                  <a:lnTo>
                    <a:pt x="3232" y="323"/>
                  </a:lnTo>
                  <a:cubicBezTo>
                    <a:pt x="3232" y="144"/>
                    <a:pt x="3088" y="0"/>
                    <a:pt x="2909" y="0"/>
                  </a:cubicBezTo>
                  <a:lnTo>
                    <a:pt x="324" y="0"/>
                  </a:lnTo>
                  <a:cubicBezTo>
                    <a:pt x="145" y="0"/>
                    <a:pt x="0" y="144"/>
                    <a:pt x="0" y="323"/>
                  </a:cubicBezTo>
                  <a:lnTo>
                    <a:pt x="0" y="893"/>
                  </a:lnTo>
                  <a:cubicBezTo>
                    <a:pt x="0" y="1071"/>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6" name="Rectangle 108">
              <a:extLst>
                <a:ext uri="{FF2B5EF4-FFF2-40B4-BE49-F238E27FC236}">
                  <a16:creationId xmlns:a16="http://schemas.microsoft.com/office/drawing/2014/main" id="{FA0560CA-57F3-495C-8E5E-37E71CDBDBB5}"/>
                </a:ext>
              </a:extLst>
            </p:cNvPr>
            <p:cNvSpPr>
              <a:spLocks noChangeArrowheads="1"/>
            </p:cNvSpPr>
            <p:nvPr/>
          </p:nvSpPr>
          <p:spPr bwMode="auto">
            <a:xfrm>
              <a:off x="4605338" y="2152650"/>
              <a:ext cx="825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rganization </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7" name="Rectangle 109">
              <a:extLst>
                <a:ext uri="{FF2B5EF4-FFF2-40B4-BE49-F238E27FC236}">
                  <a16:creationId xmlns:a16="http://schemas.microsoft.com/office/drawing/2014/main" id="{AAC6FD94-FEB8-4F25-BB1F-9ED17F627D7C}"/>
                </a:ext>
              </a:extLst>
            </p:cNvPr>
            <p:cNvSpPr>
              <a:spLocks noChangeArrowheads="1"/>
            </p:cNvSpPr>
            <p:nvPr/>
          </p:nvSpPr>
          <p:spPr bwMode="auto">
            <a:xfrm>
              <a:off x="4632325" y="2306638"/>
              <a:ext cx="7334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Profil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8" name="Rectangle 110">
              <a:extLst>
                <a:ext uri="{FF2B5EF4-FFF2-40B4-BE49-F238E27FC236}">
                  <a16:creationId xmlns:a16="http://schemas.microsoft.com/office/drawing/2014/main" id="{E0D2F770-D2C1-4AFE-8472-561EECBB88ED}"/>
                </a:ext>
              </a:extLst>
            </p:cNvPr>
            <p:cNvSpPr>
              <a:spLocks noChangeArrowheads="1"/>
            </p:cNvSpPr>
            <p:nvPr/>
          </p:nvSpPr>
          <p:spPr bwMode="auto">
            <a:xfrm>
              <a:off x="4973638" y="2493963"/>
              <a:ext cx="5810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location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69" name="Rectangle 111">
              <a:extLst>
                <a:ext uri="{FF2B5EF4-FFF2-40B4-BE49-F238E27FC236}">
                  <a16:creationId xmlns:a16="http://schemas.microsoft.com/office/drawing/2014/main" id="{9D776BBE-D782-4025-8101-36D7F2E8DCDB}"/>
                </a:ext>
              </a:extLst>
            </p:cNvPr>
            <p:cNvSpPr>
              <a:spLocks noChangeArrowheads="1"/>
            </p:cNvSpPr>
            <p:nvPr/>
          </p:nvSpPr>
          <p:spPr bwMode="auto">
            <a:xfrm>
              <a:off x="4973638" y="2616200"/>
              <a:ext cx="6000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data typ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0" name="Rectangle 112">
              <a:extLst>
                <a:ext uri="{FF2B5EF4-FFF2-40B4-BE49-F238E27FC236}">
                  <a16:creationId xmlns:a16="http://schemas.microsoft.com/office/drawing/2014/main" id="{B6140BD0-7B4F-469F-A419-1799B14CE160}"/>
                </a:ext>
              </a:extLst>
            </p:cNvPr>
            <p:cNvSpPr>
              <a:spLocks noChangeArrowheads="1"/>
            </p:cNvSpPr>
            <p:nvPr/>
          </p:nvSpPr>
          <p:spPr bwMode="auto">
            <a:xfrm>
              <a:off x="4973638" y="2738438"/>
              <a:ext cx="5905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y countrie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1" name="Line 113">
              <a:extLst>
                <a:ext uri="{FF2B5EF4-FFF2-40B4-BE49-F238E27FC236}">
                  <a16:creationId xmlns:a16="http://schemas.microsoft.com/office/drawing/2014/main" id="{2E64A9BB-1970-4A86-B72A-37DCE9786633}"/>
                </a:ext>
              </a:extLst>
            </p:cNvPr>
            <p:cNvSpPr>
              <a:spLocks noChangeShapeType="1"/>
            </p:cNvSpPr>
            <p:nvPr/>
          </p:nvSpPr>
          <p:spPr bwMode="auto">
            <a:xfrm flipH="1">
              <a:off x="4935538" y="1082675"/>
              <a:ext cx="1587" cy="9858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2" name="Freeform 114">
              <a:extLst>
                <a:ext uri="{FF2B5EF4-FFF2-40B4-BE49-F238E27FC236}">
                  <a16:creationId xmlns:a16="http://schemas.microsoft.com/office/drawing/2014/main" id="{7DCCDF44-5E2A-44BA-B7BC-B6014307329D}"/>
                </a:ext>
              </a:extLst>
            </p:cNvPr>
            <p:cNvSpPr>
              <a:spLocks/>
            </p:cNvSpPr>
            <p:nvPr/>
          </p:nvSpPr>
          <p:spPr bwMode="auto">
            <a:xfrm>
              <a:off x="4892675" y="2047875"/>
              <a:ext cx="84137" cy="84138"/>
            </a:xfrm>
            <a:custGeom>
              <a:avLst/>
              <a:gdLst>
                <a:gd name="T0" fmla="*/ 139 w 279"/>
                <a:gd name="T1" fmla="*/ 280 h 280"/>
                <a:gd name="T2" fmla="*/ 0 w 279"/>
                <a:gd name="T3" fmla="*/ 0 h 280"/>
                <a:gd name="T4" fmla="*/ 279 w 279"/>
                <a:gd name="T5" fmla="*/ 1 h 280"/>
                <a:gd name="T6" fmla="*/ 139 w 279"/>
                <a:gd name="T7" fmla="*/ 280 h 280"/>
              </a:gdLst>
              <a:ahLst/>
              <a:cxnLst>
                <a:cxn ang="0">
                  <a:pos x="T0" y="T1"/>
                </a:cxn>
                <a:cxn ang="0">
                  <a:pos x="T2" y="T3"/>
                </a:cxn>
                <a:cxn ang="0">
                  <a:pos x="T4" y="T5"/>
                </a:cxn>
                <a:cxn ang="0">
                  <a:pos x="T6" y="T7"/>
                </a:cxn>
              </a:cxnLst>
              <a:rect l="0" t="0" r="r" b="b"/>
              <a:pathLst>
                <a:path w="279" h="280">
                  <a:moveTo>
                    <a:pt x="139" y="280"/>
                  </a:moveTo>
                  <a:lnTo>
                    <a:pt x="0" y="0"/>
                  </a:lnTo>
                  <a:cubicBezTo>
                    <a:pt x="88" y="44"/>
                    <a:pt x="191" y="45"/>
                    <a:pt x="279" y="1"/>
                  </a:cubicBezTo>
                  <a:lnTo>
                    <a:pt x="139"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3" name="Freeform 115">
              <a:extLst>
                <a:ext uri="{FF2B5EF4-FFF2-40B4-BE49-F238E27FC236}">
                  <a16:creationId xmlns:a16="http://schemas.microsoft.com/office/drawing/2014/main" id="{94394053-D132-4922-803E-2F50E182A58C}"/>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4" name="Freeform 116">
              <a:extLst>
                <a:ext uri="{FF2B5EF4-FFF2-40B4-BE49-F238E27FC236}">
                  <a16:creationId xmlns:a16="http://schemas.microsoft.com/office/drawing/2014/main" id="{41BDF44A-D156-48AF-994D-66689618E423}"/>
                </a:ext>
              </a:extLst>
            </p:cNvPr>
            <p:cNvSpPr>
              <a:spLocks/>
            </p:cNvSpPr>
            <p:nvPr/>
          </p:nvSpPr>
          <p:spPr bwMode="auto">
            <a:xfrm>
              <a:off x="5614988" y="2874963"/>
              <a:ext cx="963612" cy="361950"/>
            </a:xfrm>
            <a:custGeom>
              <a:avLst/>
              <a:gdLst>
                <a:gd name="T0" fmla="*/ 324 w 3232"/>
                <a:gd name="T1" fmla="*/ 1216 h 1216"/>
                <a:gd name="T2" fmla="*/ 2909 w 3232"/>
                <a:gd name="T3" fmla="*/ 1216 h 1216"/>
                <a:gd name="T4" fmla="*/ 3232 w 3232"/>
                <a:gd name="T5" fmla="*/ 893 h 1216"/>
                <a:gd name="T6" fmla="*/ 3232 w 3232"/>
                <a:gd name="T7" fmla="*/ 324 h 1216"/>
                <a:gd name="T8" fmla="*/ 2909 w 3232"/>
                <a:gd name="T9" fmla="*/ 0 h 1216"/>
                <a:gd name="T10" fmla="*/ 324 w 3232"/>
                <a:gd name="T11" fmla="*/ 0 h 1216"/>
                <a:gd name="T12" fmla="*/ 0 w 3232"/>
                <a:gd name="T13" fmla="*/ 324 h 1216"/>
                <a:gd name="T14" fmla="*/ 0 w 3232"/>
                <a:gd name="T15" fmla="*/ 893 h 1216"/>
                <a:gd name="T16" fmla="*/ 324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4" y="1216"/>
                  </a:moveTo>
                  <a:lnTo>
                    <a:pt x="2909" y="1216"/>
                  </a:lnTo>
                  <a:cubicBezTo>
                    <a:pt x="3088" y="1216"/>
                    <a:pt x="3232" y="1072"/>
                    <a:pt x="3232" y="893"/>
                  </a:cubicBezTo>
                  <a:lnTo>
                    <a:pt x="3232" y="324"/>
                  </a:lnTo>
                  <a:cubicBezTo>
                    <a:pt x="3232" y="145"/>
                    <a:pt x="3088" y="0"/>
                    <a:pt x="2909" y="0"/>
                  </a:cubicBezTo>
                  <a:lnTo>
                    <a:pt x="324" y="0"/>
                  </a:lnTo>
                  <a:cubicBezTo>
                    <a:pt x="145" y="0"/>
                    <a:pt x="0" y="145"/>
                    <a:pt x="0" y="324"/>
                  </a:cubicBezTo>
                  <a:lnTo>
                    <a:pt x="0" y="893"/>
                  </a:lnTo>
                  <a:cubicBezTo>
                    <a:pt x="0" y="1072"/>
                    <a:pt x="145" y="1216"/>
                    <a:pt x="324"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5" name="Rectangle 117">
              <a:extLst>
                <a:ext uri="{FF2B5EF4-FFF2-40B4-BE49-F238E27FC236}">
                  <a16:creationId xmlns:a16="http://schemas.microsoft.com/office/drawing/2014/main" id="{94956741-3B25-470A-830F-E546D5AE756A}"/>
                </a:ext>
              </a:extLst>
            </p:cNvPr>
            <p:cNvSpPr>
              <a:spLocks noChangeArrowheads="1"/>
            </p:cNvSpPr>
            <p:nvPr/>
          </p:nvSpPr>
          <p:spPr bwMode="auto">
            <a:xfrm>
              <a:off x="5891213" y="2895600"/>
              <a:ext cx="5238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ntent</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6" name="Rectangle 118">
              <a:extLst>
                <a:ext uri="{FF2B5EF4-FFF2-40B4-BE49-F238E27FC236}">
                  <a16:creationId xmlns:a16="http://schemas.microsoft.com/office/drawing/2014/main" id="{D6221D33-EAF2-438F-8792-2474A8BA0C17}"/>
                </a:ext>
              </a:extLst>
            </p:cNvPr>
            <p:cNvSpPr>
              <a:spLocks noChangeArrowheads="1"/>
            </p:cNvSpPr>
            <p:nvPr/>
          </p:nvSpPr>
          <p:spPr bwMode="auto">
            <a:xfrm>
              <a:off x="5883275" y="3048000"/>
              <a:ext cx="5381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r</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77" name="Freeform 119">
              <a:extLst>
                <a:ext uri="{FF2B5EF4-FFF2-40B4-BE49-F238E27FC236}">
                  <a16:creationId xmlns:a16="http://schemas.microsoft.com/office/drawing/2014/main" id="{9A7BDFA2-F60C-43CE-8FC6-027E7F8758B2}"/>
                </a:ext>
              </a:extLst>
            </p:cNvPr>
            <p:cNvSpPr>
              <a:spLocks noEditPoints="1"/>
            </p:cNvSpPr>
            <p:nvPr/>
          </p:nvSpPr>
          <p:spPr bwMode="auto">
            <a:xfrm>
              <a:off x="4929188" y="2489200"/>
              <a:ext cx="628650" cy="571500"/>
            </a:xfrm>
            <a:custGeom>
              <a:avLst/>
              <a:gdLst>
                <a:gd name="T0" fmla="*/ 32 w 2109"/>
                <a:gd name="T1" fmla="*/ 240 h 1916"/>
                <a:gd name="T2" fmla="*/ 0 w 2109"/>
                <a:gd name="T3" fmla="*/ 240 h 1916"/>
                <a:gd name="T4" fmla="*/ 16 w 2109"/>
                <a:gd name="T5" fmla="*/ 0 h 1916"/>
                <a:gd name="T6" fmla="*/ 32 w 2109"/>
                <a:gd name="T7" fmla="*/ 400 h 1916"/>
                <a:gd name="T8" fmla="*/ 16 w 2109"/>
                <a:gd name="T9" fmla="*/ 640 h 1916"/>
                <a:gd name="T10" fmla="*/ 0 w 2109"/>
                <a:gd name="T11" fmla="*/ 400 h 1916"/>
                <a:gd name="T12" fmla="*/ 32 w 2109"/>
                <a:gd name="T13" fmla="*/ 400 h 1916"/>
                <a:gd name="T14" fmla="*/ 32 w 2109"/>
                <a:gd name="T15" fmla="*/ 1008 h 1916"/>
                <a:gd name="T16" fmla="*/ 0 w 2109"/>
                <a:gd name="T17" fmla="*/ 1008 h 1916"/>
                <a:gd name="T18" fmla="*/ 16 w 2109"/>
                <a:gd name="T19" fmla="*/ 768 h 1916"/>
                <a:gd name="T20" fmla="*/ 32 w 2109"/>
                <a:gd name="T21" fmla="*/ 1168 h 1916"/>
                <a:gd name="T22" fmla="*/ 16 w 2109"/>
                <a:gd name="T23" fmla="*/ 1408 h 1916"/>
                <a:gd name="T24" fmla="*/ 0 w 2109"/>
                <a:gd name="T25" fmla="*/ 1168 h 1916"/>
                <a:gd name="T26" fmla="*/ 32 w 2109"/>
                <a:gd name="T27" fmla="*/ 1168 h 1916"/>
                <a:gd name="T28" fmla="*/ 32 w 2109"/>
                <a:gd name="T29" fmla="*/ 1776 h 1916"/>
                <a:gd name="T30" fmla="*/ 0 w 2109"/>
                <a:gd name="T31" fmla="*/ 1776 h 1916"/>
                <a:gd name="T32" fmla="*/ 16 w 2109"/>
                <a:gd name="T33" fmla="*/ 1536 h 1916"/>
                <a:gd name="T34" fmla="*/ 52 w 2109"/>
                <a:gd name="T35" fmla="*/ 1884 h 1916"/>
                <a:gd name="T36" fmla="*/ 292 w 2109"/>
                <a:gd name="T37" fmla="*/ 1900 h 1916"/>
                <a:gd name="T38" fmla="*/ 52 w 2109"/>
                <a:gd name="T39" fmla="*/ 1916 h 1916"/>
                <a:gd name="T40" fmla="*/ 52 w 2109"/>
                <a:gd name="T41" fmla="*/ 1884 h 1916"/>
                <a:gd name="T42" fmla="*/ 660 w 2109"/>
                <a:gd name="T43" fmla="*/ 1884 h 1916"/>
                <a:gd name="T44" fmla="*/ 660 w 2109"/>
                <a:gd name="T45" fmla="*/ 1916 h 1916"/>
                <a:gd name="T46" fmla="*/ 420 w 2109"/>
                <a:gd name="T47" fmla="*/ 1900 h 1916"/>
                <a:gd name="T48" fmla="*/ 820 w 2109"/>
                <a:gd name="T49" fmla="*/ 1884 h 1916"/>
                <a:gd name="T50" fmla="*/ 1060 w 2109"/>
                <a:gd name="T51" fmla="*/ 1900 h 1916"/>
                <a:gd name="T52" fmla="*/ 820 w 2109"/>
                <a:gd name="T53" fmla="*/ 1916 h 1916"/>
                <a:gd name="T54" fmla="*/ 820 w 2109"/>
                <a:gd name="T55" fmla="*/ 1884 h 1916"/>
                <a:gd name="T56" fmla="*/ 1428 w 2109"/>
                <a:gd name="T57" fmla="*/ 1884 h 1916"/>
                <a:gd name="T58" fmla="*/ 1428 w 2109"/>
                <a:gd name="T59" fmla="*/ 1916 h 1916"/>
                <a:gd name="T60" fmla="*/ 1188 w 2109"/>
                <a:gd name="T61" fmla="*/ 1900 h 1916"/>
                <a:gd name="T62" fmla="*/ 1588 w 2109"/>
                <a:gd name="T63" fmla="*/ 1884 h 1916"/>
                <a:gd name="T64" fmla="*/ 1828 w 2109"/>
                <a:gd name="T65" fmla="*/ 1900 h 1916"/>
                <a:gd name="T66" fmla="*/ 1588 w 2109"/>
                <a:gd name="T67" fmla="*/ 1916 h 1916"/>
                <a:gd name="T68" fmla="*/ 1588 w 2109"/>
                <a:gd name="T69" fmla="*/ 1884 h 1916"/>
                <a:gd name="T70" fmla="*/ 2093 w 2109"/>
                <a:gd name="T71" fmla="*/ 1884 h 1916"/>
                <a:gd name="T72" fmla="*/ 2093 w 2109"/>
                <a:gd name="T73" fmla="*/ 1916 h 1916"/>
                <a:gd name="T74" fmla="*/ 1956 w 2109"/>
                <a:gd name="T75" fmla="*/ 1900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9" h="1916">
                  <a:moveTo>
                    <a:pt x="32" y="16"/>
                  </a:moveTo>
                  <a:lnTo>
                    <a:pt x="32" y="240"/>
                  </a:lnTo>
                  <a:cubicBezTo>
                    <a:pt x="32" y="249"/>
                    <a:pt x="25" y="256"/>
                    <a:pt x="16" y="256"/>
                  </a:cubicBezTo>
                  <a:cubicBezTo>
                    <a:pt x="8" y="256"/>
                    <a:pt x="0" y="249"/>
                    <a:pt x="0" y="240"/>
                  </a:cubicBezTo>
                  <a:lnTo>
                    <a:pt x="0" y="16"/>
                  </a:lnTo>
                  <a:cubicBezTo>
                    <a:pt x="0" y="7"/>
                    <a:pt x="8" y="0"/>
                    <a:pt x="16" y="0"/>
                  </a:cubicBezTo>
                  <a:cubicBezTo>
                    <a:pt x="25" y="0"/>
                    <a:pt x="32" y="7"/>
                    <a:pt x="32" y="16"/>
                  </a:cubicBezTo>
                  <a:close/>
                  <a:moveTo>
                    <a:pt x="32" y="400"/>
                  </a:moveTo>
                  <a:lnTo>
                    <a:pt x="32" y="624"/>
                  </a:lnTo>
                  <a:cubicBezTo>
                    <a:pt x="32" y="633"/>
                    <a:pt x="25" y="640"/>
                    <a:pt x="16" y="640"/>
                  </a:cubicBezTo>
                  <a:cubicBezTo>
                    <a:pt x="8" y="640"/>
                    <a:pt x="0" y="633"/>
                    <a:pt x="0" y="624"/>
                  </a:cubicBezTo>
                  <a:lnTo>
                    <a:pt x="0" y="400"/>
                  </a:lnTo>
                  <a:cubicBezTo>
                    <a:pt x="0" y="391"/>
                    <a:pt x="8" y="384"/>
                    <a:pt x="16" y="384"/>
                  </a:cubicBezTo>
                  <a:cubicBezTo>
                    <a:pt x="25" y="384"/>
                    <a:pt x="32" y="391"/>
                    <a:pt x="32" y="400"/>
                  </a:cubicBezTo>
                  <a:close/>
                  <a:moveTo>
                    <a:pt x="32" y="784"/>
                  </a:moveTo>
                  <a:lnTo>
                    <a:pt x="32" y="1008"/>
                  </a:lnTo>
                  <a:cubicBezTo>
                    <a:pt x="32" y="1017"/>
                    <a:pt x="25" y="1024"/>
                    <a:pt x="16" y="1024"/>
                  </a:cubicBezTo>
                  <a:cubicBezTo>
                    <a:pt x="8" y="1024"/>
                    <a:pt x="0" y="1017"/>
                    <a:pt x="0" y="1008"/>
                  </a:cubicBezTo>
                  <a:lnTo>
                    <a:pt x="0" y="784"/>
                  </a:lnTo>
                  <a:cubicBezTo>
                    <a:pt x="0" y="775"/>
                    <a:pt x="8" y="768"/>
                    <a:pt x="16" y="768"/>
                  </a:cubicBezTo>
                  <a:cubicBezTo>
                    <a:pt x="25" y="768"/>
                    <a:pt x="32" y="775"/>
                    <a:pt x="32" y="784"/>
                  </a:cubicBezTo>
                  <a:close/>
                  <a:moveTo>
                    <a:pt x="32" y="1168"/>
                  </a:moveTo>
                  <a:lnTo>
                    <a:pt x="32" y="1392"/>
                  </a:lnTo>
                  <a:cubicBezTo>
                    <a:pt x="32" y="1401"/>
                    <a:pt x="25" y="1408"/>
                    <a:pt x="16" y="1408"/>
                  </a:cubicBezTo>
                  <a:cubicBezTo>
                    <a:pt x="8" y="1408"/>
                    <a:pt x="0" y="1401"/>
                    <a:pt x="0" y="1392"/>
                  </a:cubicBezTo>
                  <a:lnTo>
                    <a:pt x="0" y="1168"/>
                  </a:lnTo>
                  <a:cubicBezTo>
                    <a:pt x="0" y="1159"/>
                    <a:pt x="8" y="1152"/>
                    <a:pt x="16" y="1152"/>
                  </a:cubicBezTo>
                  <a:cubicBezTo>
                    <a:pt x="25" y="1152"/>
                    <a:pt x="32" y="1159"/>
                    <a:pt x="32" y="1168"/>
                  </a:cubicBezTo>
                  <a:close/>
                  <a:moveTo>
                    <a:pt x="32" y="1552"/>
                  </a:moveTo>
                  <a:lnTo>
                    <a:pt x="32" y="1776"/>
                  </a:lnTo>
                  <a:cubicBezTo>
                    <a:pt x="32" y="1785"/>
                    <a:pt x="25" y="1792"/>
                    <a:pt x="16" y="1792"/>
                  </a:cubicBezTo>
                  <a:cubicBezTo>
                    <a:pt x="8" y="1792"/>
                    <a:pt x="0" y="1785"/>
                    <a:pt x="0" y="1776"/>
                  </a:cubicBezTo>
                  <a:lnTo>
                    <a:pt x="0" y="1552"/>
                  </a:lnTo>
                  <a:cubicBezTo>
                    <a:pt x="0" y="1543"/>
                    <a:pt x="8" y="1536"/>
                    <a:pt x="16" y="1536"/>
                  </a:cubicBezTo>
                  <a:cubicBezTo>
                    <a:pt x="25" y="1536"/>
                    <a:pt x="32" y="1543"/>
                    <a:pt x="32" y="1552"/>
                  </a:cubicBezTo>
                  <a:close/>
                  <a:moveTo>
                    <a:pt x="52" y="1884"/>
                  </a:moveTo>
                  <a:lnTo>
                    <a:pt x="276" y="1884"/>
                  </a:lnTo>
                  <a:cubicBezTo>
                    <a:pt x="285" y="1884"/>
                    <a:pt x="292" y="1892"/>
                    <a:pt x="292" y="1900"/>
                  </a:cubicBezTo>
                  <a:cubicBezTo>
                    <a:pt x="292" y="1909"/>
                    <a:pt x="285" y="1916"/>
                    <a:pt x="276" y="1916"/>
                  </a:cubicBezTo>
                  <a:lnTo>
                    <a:pt x="52" y="1916"/>
                  </a:lnTo>
                  <a:cubicBezTo>
                    <a:pt x="43" y="1916"/>
                    <a:pt x="36" y="1909"/>
                    <a:pt x="36" y="1900"/>
                  </a:cubicBezTo>
                  <a:cubicBezTo>
                    <a:pt x="36" y="1892"/>
                    <a:pt x="43" y="1884"/>
                    <a:pt x="52" y="1884"/>
                  </a:cubicBezTo>
                  <a:close/>
                  <a:moveTo>
                    <a:pt x="436" y="1884"/>
                  </a:moveTo>
                  <a:lnTo>
                    <a:pt x="660" y="1884"/>
                  </a:lnTo>
                  <a:cubicBezTo>
                    <a:pt x="669" y="1884"/>
                    <a:pt x="676" y="1892"/>
                    <a:pt x="676" y="1900"/>
                  </a:cubicBezTo>
                  <a:cubicBezTo>
                    <a:pt x="676" y="1909"/>
                    <a:pt x="669" y="1916"/>
                    <a:pt x="660" y="1916"/>
                  </a:cubicBezTo>
                  <a:lnTo>
                    <a:pt x="436" y="1916"/>
                  </a:lnTo>
                  <a:cubicBezTo>
                    <a:pt x="427" y="1916"/>
                    <a:pt x="420" y="1909"/>
                    <a:pt x="420" y="1900"/>
                  </a:cubicBezTo>
                  <a:cubicBezTo>
                    <a:pt x="420" y="1892"/>
                    <a:pt x="427" y="1884"/>
                    <a:pt x="436" y="1884"/>
                  </a:cubicBezTo>
                  <a:close/>
                  <a:moveTo>
                    <a:pt x="820" y="1884"/>
                  </a:moveTo>
                  <a:lnTo>
                    <a:pt x="1044" y="1884"/>
                  </a:lnTo>
                  <a:cubicBezTo>
                    <a:pt x="1053" y="1884"/>
                    <a:pt x="1060" y="1892"/>
                    <a:pt x="1060" y="1900"/>
                  </a:cubicBezTo>
                  <a:cubicBezTo>
                    <a:pt x="1060" y="1909"/>
                    <a:pt x="1053" y="1916"/>
                    <a:pt x="1044" y="1916"/>
                  </a:cubicBezTo>
                  <a:lnTo>
                    <a:pt x="820" y="1916"/>
                  </a:lnTo>
                  <a:cubicBezTo>
                    <a:pt x="811" y="1916"/>
                    <a:pt x="804" y="1909"/>
                    <a:pt x="804" y="1900"/>
                  </a:cubicBezTo>
                  <a:cubicBezTo>
                    <a:pt x="804" y="1892"/>
                    <a:pt x="811" y="1884"/>
                    <a:pt x="820" y="1884"/>
                  </a:cubicBezTo>
                  <a:close/>
                  <a:moveTo>
                    <a:pt x="1204" y="1884"/>
                  </a:moveTo>
                  <a:lnTo>
                    <a:pt x="1428" y="1884"/>
                  </a:lnTo>
                  <a:cubicBezTo>
                    <a:pt x="1437" y="1884"/>
                    <a:pt x="1444" y="1892"/>
                    <a:pt x="1444" y="1900"/>
                  </a:cubicBezTo>
                  <a:cubicBezTo>
                    <a:pt x="1444" y="1909"/>
                    <a:pt x="1437" y="1916"/>
                    <a:pt x="1428" y="1916"/>
                  </a:cubicBezTo>
                  <a:lnTo>
                    <a:pt x="1204" y="1916"/>
                  </a:lnTo>
                  <a:cubicBezTo>
                    <a:pt x="1195" y="1916"/>
                    <a:pt x="1188" y="1909"/>
                    <a:pt x="1188" y="1900"/>
                  </a:cubicBezTo>
                  <a:cubicBezTo>
                    <a:pt x="1188" y="1892"/>
                    <a:pt x="1195" y="1884"/>
                    <a:pt x="1204" y="1884"/>
                  </a:cubicBezTo>
                  <a:close/>
                  <a:moveTo>
                    <a:pt x="1588" y="1884"/>
                  </a:moveTo>
                  <a:lnTo>
                    <a:pt x="1812" y="1884"/>
                  </a:lnTo>
                  <a:cubicBezTo>
                    <a:pt x="1821" y="1884"/>
                    <a:pt x="1828" y="1892"/>
                    <a:pt x="1828" y="1900"/>
                  </a:cubicBezTo>
                  <a:cubicBezTo>
                    <a:pt x="1828" y="1909"/>
                    <a:pt x="1821" y="1916"/>
                    <a:pt x="1812" y="1916"/>
                  </a:cubicBezTo>
                  <a:lnTo>
                    <a:pt x="1588" y="1916"/>
                  </a:lnTo>
                  <a:cubicBezTo>
                    <a:pt x="1579" y="1916"/>
                    <a:pt x="1572" y="1909"/>
                    <a:pt x="1572" y="1900"/>
                  </a:cubicBezTo>
                  <a:cubicBezTo>
                    <a:pt x="1572" y="1892"/>
                    <a:pt x="1579" y="1884"/>
                    <a:pt x="1588" y="1884"/>
                  </a:cubicBezTo>
                  <a:close/>
                  <a:moveTo>
                    <a:pt x="1972" y="1884"/>
                  </a:moveTo>
                  <a:lnTo>
                    <a:pt x="2093" y="1884"/>
                  </a:lnTo>
                  <a:cubicBezTo>
                    <a:pt x="2102" y="1884"/>
                    <a:pt x="2109" y="1892"/>
                    <a:pt x="2109" y="1900"/>
                  </a:cubicBezTo>
                  <a:cubicBezTo>
                    <a:pt x="2109" y="1909"/>
                    <a:pt x="2102" y="1916"/>
                    <a:pt x="2093" y="1916"/>
                  </a:cubicBezTo>
                  <a:lnTo>
                    <a:pt x="1972" y="1916"/>
                  </a:lnTo>
                  <a:cubicBezTo>
                    <a:pt x="1963" y="1916"/>
                    <a:pt x="1956" y="1909"/>
                    <a:pt x="1956" y="1900"/>
                  </a:cubicBezTo>
                  <a:cubicBezTo>
                    <a:pt x="1956" y="1892"/>
                    <a:pt x="1963" y="1884"/>
                    <a:pt x="1972" y="1884"/>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8" name="Freeform 120">
              <a:extLst>
                <a:ext uri="{FF2B5EF4-FFF2-40B4-BE49-F238E27FC236}">
                  <a16:creationId xmlns:a16="http://schemas.microsoft.com/office/drawing/2014/main" id="{DB69EED0-6776-44EF-83CD-B5812CB9E63B}"/>
                </a:ext>
              </a:extLst>
            </p:cNvPr>
            <p:cNvSpPr>
              <a:spLocks/>
            </p:cNvSpPr>
            <p:nvPr/>
          </p:nvSpPr>
          <p:spPr bwMode="auto">
            <a:xfrm>
              <a:off x="5532438" y="3014663"/>
              <a:ext cx="82550" cy="82550"/>
            </a:xfrm>
            <a:custGeom>
              <a:avLst/>
              <a:gdLst>
                <a:gd name="T0" fmla="*/ 279 w 279"/>
                <a:gd name="T1" fmla="*/ 139 h 279"/>
                <a:gd name="T2" fmla="*/ 0 w 279"/>
                <a:gd name="T3" fmla="*/ 279 h 279"/>
                <a:gd name="T4" fmla="*/ 0 w 279"/>
                <a:gd name="T5" fmla="*/ 0 h 279"/>
                <a:gd name="T6" fmla="*/ 279 w 279"/>
                <a:gd name="T7" fmla="*/ 139 h 279"/>
              </a:gdLst>
              <a:ahLst/>
              <a:cxnLst>
                <a:cxn ang="0">
                  <a:pos x="T0" y="T1"/>
                </a:cxn>
                <a:cxn ang="0">
                  <a:pos x="T2" y="T3"/>
                </a:cxn>
                <a:cxn ang="0">
                  <a:pos x="T4" y="T5"/>
                </a:cxn>
                <a:cxn ang="0">
                  <a:pos x="T6" y="T7"/>
                </a:cxn>
              </a:cxnLst>
              <a:rect l="0" t="0" r="r" b="b"/>
              <a:pathLst>
                <a:path w="279" h="279">
                  <a:moveTo>
                    <a:pt x="279" y="139"/>
                  </a:moveTo>
                  <a:lnTo>
                    <a:pt x="0" y="279"/>
                  </a:lnTo>
                  <a:cubicBezTo>
                    <a:pt x="44" y="191"/>
                    <a:pt x="44" y="88"/>
                    <a:pt x="0" y="0"/>
                  </a:cubicBezTo>
                  <a:lnTo>
                    <a:pt x="279" y="1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9" name="Rectangle 121">
              <a:extLst>
                <a:ext uri="{FF2B5EF4-FFF2-40B4-BE49-F238E27FC236}">
                  <a16:creationId xmlns:a16="http://schemas.microsoft.com/office/drawing/2014/main" id="{848A2996-C8FB-4F78-A078-0A32F26D9B88}"/>
                </a:ext>
              </a:extLst>
            </p:cNvPr>
            <p:cNvSpPr>
              <a:spLocks noChangeArrowheads="1"/>
            </p:cNvSpPr>
            <p:nvPr/>
          </p:nvSpPr>
          <p:spPr bwMode="auto">
            <a:xfrm>
              <a:off x="5030788" y="2921000"/>
              <a:ext cx="366712"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xplore</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0" name="Rectangle 122">
              <a:extLst>
                <a:ext uri="{FF2B5EF4-FFF2-40B4-BE49-F238E27FC236}">
                  <a16:creationId xmlns:a16="http://schemas.microsoft.com/office/drawing/2014/main" id="{2370F908-2EE0-4183-AB24-DE40443F11C5}"/>
                </a:ext>
              </a:extLst>
            </p:cNvPr>
            <p:cNvSpPr>
              <a:spLocks noChangeArrowheads="1"/>
            </p:cNvSpPr>
            <p:nvPr/>
          </p:nvSpPr>
          <p:spPr bwMode="auto">
            <a:xfrm>
              <a:off x="5033963" y="3043238"/>
              <a:ext cx="3524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data in</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481" name="Freeform 123">
              <a:extLst>
                <a:ext uri="{FF2B5EF4-FFF2-40B4-BE49-F238E27FC236}">
                  <a16:creationId xmlns:a16="http://schemas.microsoft.com/office/drawing/2014/main" id="{034F8178-EA77-4BEE-8F3E-1768D39CCD52}"/>
                </a:ext>
              </a:extLst>
            </p:cNvPr>
            <p:cNvSpPr>
              <a:spLocks/>
            </p:cNvSpPr>
            <p:nvPr/>
          </p:nvSpPr>
          <p:spPr bwMode="auto">
            <a:xfrm>
              <a:off x="5100638" y="1835150"/>
              <a:ext cx="114300" cy="114300"/>
            </a:xfrm>
            <a:custGeom>
              <a:avLst/>
              <a:gdLst>
                <a:gd name="T0" fmla="*/ 194 w 385"/>
                <a:gd name="T1" fmla="*/ 386 h 386"/>
                <a:gd name="T2" fmla="*/ 385 w 385"/>
                <a:gd name="T3" fmla="*/ 194 h 386"/>
                <a:gd name="T4" fmla="*/ 273 w 385"/>
                <a:gd name="T5" fmla="*/ 18 h 386"/>
                <a:gd name="T6" fmla="*/ 194 w 385"/>
                <a:gd name="T7" fmla="*/ 0 h 386"/>
                <a:gd name="T8" fmla="*/ 115 w 385"/>
                <a:gd name="T9" fmla="*/ 18 h 386"/>
                <a:gd name="T10" fmla="*/ 2 w 385"/>
                <a:gd name="T11" fmla="*/ 194 h 386"/>
                <a:gd name="T12" fmla="*/ 194 w 385"/>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385" h="386">
                  <a:moveTo>
                    <a:pt x="194" y="386"/>
                  </a:moveTo>
                  <a:cubicBezTo>
                    <a:pt x="300" y="386"/>
                    <a:pt x="385" y="300"/>
                    <a:pt x="385" y="194"/>
                  </a:cubicBezTo>
                  <a:cubicBezTo>
                    <a:pt x="385" y="115"/>
                    <a:pt x="338" y="50"/>
                    <a:pt x="273" y="18"/>
                  </a:cubicBezTo>
                  <a:cubicBezTo>
                    <a:pt x="248" y="7"/>
                    <a:pt x="221" y="0"/>
                    <a:pt x="194" y="0"/>
                  </a:cubicBezTo>
                  <a:cubicBezTo>
                    <a:pt x="167" y="0"/>
                    <a:pt x="137" y="7"/>
                    <a:pt x="115" y="18"/>
                  </a:cubicBezTo>
                  <a:cubicBezTo>
                    <a:pt x="49" y="48"/>
                    <a:pt x="2" y="115"/>
                    <a:pt x="2" y="194"/>
                  </a:cubicBezTo>
                  <a:cubicBezTo>
                    <a:pt x="0" y="300"/>
                    <a:pt x="88" y="386"/>
                    <a:pt x="194" y="386"/>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2" name="Freeform 124">
              <a:extLst>
                <a:ext uri="{FF2B5EF4-FFF2-40B4-BE49-F238E27FC236}">
                  <a16:creationId xmlns:a16="http://schemas.microsoft.com/office/drawing/2014/main" id="{CB91723F-283C-4566-B922-4F0AD4B0C9D4}"/>
                </a:ext>
              </a:extLst>
            </p:cNvPr>
            <p:cNvSpPr>
              <a:spLocks/>
            </p:cNvSpPr>
            <p:nvPr/>
          </p:nvSpPr>
          <p:spPr bwMode="auto">
            <a:xfrm>
              <a:off x="5072063" y="1963738"/>
              <a:ext cx="171450" cy="85725"/>
            </a:xfrm>
            <a:custGeom>
              <a:avLst/>
              <a:gdLst>
                <a:gd name="T0" fmla="*/ 289 w 577"/>
                <a:gd name="T1" fmla="*/ 0 h 289"/>
                <a:gd name="T2" fmla="*/ 0 w 577"/>
                <a:gd name="T3" fmla="*/ 289 h 289"/>
                <a:gd name="T4" fmla="*/ 577 w 577"/>
                <a:gd name="T5" fmla="*/ 289 h 289"/>
                <a:gd name="T6" fmla="*/ 289 w 577"/>
                <a:gd name="T7" fmla="*/ 0 h 289"/>
              </a:gdLst>
              <a:ahLst/>
              <a:cxnLst>
                <a:cxn ang="0">
                  <a:pos x="T0" y="T1"/>
                </a:cxn>
                <a:cxn ang="0">
                  <a:pos x="T2" y="T3"/>
                </a:cxn>
                <a:cxn ang="0">
                  <a:pos x="T4" y="T5"/>
                </a:cxn>
                <a:cxn ang="0">
                  <a:pos x="T6" y="T7"/>
                </a:cxn>
              </a:cxnLst>
              <a:rect l="0" t="0" r="r" b="b"/>
              <a:pathLst>
                <a:path w="577" h="289">
                  <a:moveTo>
                    <a:pt x="289" y="0"/>
                  </a:moveTo>
                  <a:cubicBezTo>
                    <a:pt x="129" y="0"/>
                    <a:pt x="0" y="129"/>
                    <a:pt x="0" y="289"/>
                  </a:cubicBezTo>
                  <a:lnTo>
                    <a:pt x="577" y="289"/>
                  </a:lnTo>
                  <a:cubicBezTo>
                    <a:pt x="577"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3" name="Freeform 125">
              <a:extLst>
                <a:ext uri="{FF2B5EF4-FFF2-40B4-BE49-F238E27FC236}">
                  <a16:creationId xmlns:a16="http://schemas.microsoft.com/office/drawing/2014/main" id="{113E8331-FA4D-4908-9F8B-E22D6A2665EC}"/>
                </a:ext>
              </a:extLst>
            </p:cNvPr>
            <p:cNvSpPr>
              <a:spLocks/>
            </p:cNvSpPr>
            <p:nvPr/>
          </p:nvSpPr>
          <p:spPr bwMode="auto">
            <a:xfrm>
              <a:off x="4978400" y="1992313"/>
              <a:ext cx="80962" cy="58738"/>
            </a:xfrm>
            <a:custGeom>
              <a:avLst/>
              <a:gdLst>
                <a:gd name="T0" fmla="*/ 0 w 268"/>
                <a:gd name="T1" fmla="*/ 194 h 194"/>
                <a:gd name="T2" fmla="*/ 225 w 268"/>
                <a:gd name="T3" fmla="*/ 194 h 194"/>
                <a:gd name="T4" fmla="*/ 268 w 268"/>
                <a:gd name="T5" fmla="*/ 18 h 194"/>
                <a:gd name="T6" fmla="*/ 191 w 268"/>
                <a:gd name="T7" fmla="*/ 2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2"/>
                    <a:pt x="268" y="18"/>
                  </a:cubicBezTo>
                  <a:cubicBezTo>
                    <a:pt x="245" y="7"/>
                    <a:pt x="218" y="2"/>
                    <a:pt x="191" y="2"/>
                  </a:cubicBezTo>
                  <a:cubicBezTo>
                    <a:pt x="85"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4" name="Freeform 126">
              <a:extLst>
                <a:ext uri="{FF2B5EF4-FFF2-40B4-BE49-F238E27FC236}">
                  <a16:creationId xmlns:a16="http://schemas.microsoft.com/office/drawing/2014/main" id="{0FD54982-81BC-49A9-BD79-E86123477E61}"/>
                </a:ext>
              </a:extLst>
            </p:cNvPr>
            <p:cNvSpPr>
              <a:spLocks/>
            </p:cNvSpPr>
            <p:nvPr/>
          </p:nvSpPr>
          <p:spPr bwMode="auto">
            <a:xfrm>
              <a:off x="4992688" y="1892300"/>
              <a:ext cx="85725" cy="87313"/>
            </a:xfrm>
            <a:custGeom>
              <a:avLst/>
              <a:gdLst>
                <a:gd name="T0" fmla="*/ 144 w 289"/>
                <a:gd name="T1" fmla="*/ 0 h 289"/>
                <a:gd name="T2" fmla="*/ 0 w 289"/>
                <a:gd name="T3" fmla="*/ 145 h 289"/>
                <a:gd name="T4" fmla="*/ 52 w 289"/>
                <a:gd name="T5" fmla="*/ 255 h 289"/>
                <a:gd name="T6" fmla="*/ 135 w 289"/>
                <a:gd name="T7" fmla="*/ 289 h 289"/>
                <a:gd name="T8" fmla="*/ 144 w 289"/>
                <a:gd name="T9" fmla="*/ 289 h 289"/>
                <a:gd name="T10" fmla="*/ 153 w 289"/>
                <a:gd name="T11" fmla="*/ 289 h 289"/>
                <a:gd name="T12" fmla="*/ 237 w 289"/>
                <a:gd name="T13" fmla="*/ 255 h 289"/>
                <a:gd name="T14" fmla="*/ 289 w 289"/>
                <a:gd name="T15" fmla="*/ 145 h 289"/>
                <a:gd name="T16" fmla="*/ 144 w 28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9">
                  <a:moveTo>
                    <a:pt x="144" y="0"/>
                  </a:moveTo>
                  <a:cubicBezTo>
                    <a:pt x="65" y="0"/>
                    <a:pt x="0" y="66"/>
                    <a:pt x="0" y="145"/>
                  </a:cubicBezTo>
                  <a:cubicBezTo>
                    <a:pt x="0" y="190"/>
                    <a:pt x="20" y="228"/>
                    <a:pt x="52" y="255"/>
                  </a:cubicBezTo>
                  <a:cubicBezTo>
                    <a:pt x="74" y="276"/>
                    <a:pt x="104" y="287"/>
                    <a:pt x="135" y="289"/>
                  </a:cubicBezTo>
                  <a:cubicBezTo>
                    <a:pt x="138" y="289"/>
                    <a:pt x="140" y="289"/>
                    <a:pt x="144" y="289"/>
                  </a:cubicBezTo>
                  <a:cubicBezTo>
                    <a:pt x="147" y="289"/>
                    <a:pt x="149" y="289"/>
                    <a:pt x="153" y="289"/>
                  </a:cubicBezTo>
                  <a:cubicBezTo>
                    <a:pt x="185" y="287"/>
                    <a:pt x="214" y="276"/>
                    <a:pt x="237" y="255"/>
                  </a:cubicBezTo>
                  <a:cubicBezTo>
                    <a:pt x="268" y="228"/>
                    <a:pt x="289" y="190"/>
                    <a:pt x="289" y="145"/>
                  </a:cubicBezTo>
                  <a:cubicBezTo>
                    <a:pt x="289" y="66"/>
                    <a:pt x="225" y="0"/>
                    <a:pt x="144"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5" name="Rectangle 127">
              <a:extLst>
                <a:ext uri="{FF2B5EF4-FFF2-40B4-BE49-F238E27FC236}">
                  <a16:creationId xmlns:a16="http://schemas.microsoft.com/office/drawing/2014/main" id="{EE7FD049-CD87-4FF1-B82B-07CB9B45C442}"/>
                </a:ext>
              </a:extLst>
            </p:cNvPr>
            <p:cNvSpPr>
              <a:spLocks noChangeArrowheads="1"/>
            </p:cNvSpPr>
            <p:nvPr/>
          </p:nvSpPr>
          <p:spPr bwMode="auto">
            <a:xfrm>
              <a:off x="5251450" y="1852613"/>
              <a:ext cx="5429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Viewers</a:t>
              </a:r>
              <a:endParaRPr kumimoji="0" lang="en-US" altLang="en-US" sz="18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D737B033-BA85-4302-8489-97AE6E2AD769}"/>
                  </a:ext>
                </a:extLst>
              </p:cNvPr>
              <p:cNvGraphicFramePr>
                <a:graphicFrameLocks noChangeAspect="1"/>
              </p:cNvGraphicFramePr>
              <p:nvPr>
                <p:extLst>
                  <p:ext uri="{D42A27DB-BD31-4B8C-83A1-F6EECF244321}">
                    <p14:modId xmlns:p14="http://schemas.microsoft.com/office/powerpoint/2010/main" val="3971137075"/>
                  </p:ext>
                </p:extLst>
              </p:nvPr>
            </p:nvGraphicFramePr>
            <p:xfrm>
              <a:off x="5587483" y="400230"/>
              <a:ext cx="922338" cy="518815"/>
            </p:xfrm>
            <a:graphic>
              <a:graphicData uri="http://schemas.microsoft.com/office/powerpoint/2016/slidezoom">
                <pslz:sldZm>
                  <pslz:sldZmObj sldId="2147469863" cId="3956689437">
                    <pslz:zmPr id="{222750D6-30E9-46F0-8C2A-23B00D88AA67}" transitionDur="1000">
                      <p166:blipFill xmlns:p166="http://schemas.microsoft.com/office/powerpoint/2016/6/main">
                        <a:blip r:embed="rId2"/>
                        <a:stretch>
                          <a:fillRect/>
                        </a:stretch>
                      </p166:blipFill>
                      <p166:spPr xmlns:p166="http://schemas.microsoft.com/office/powerpoint/2016/6/main">
                        <a:xfrm>
                          <a:off x="0" y="0"/>
                          <a:ext cx="922338" cy="518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D737B033-BA85-4302-8489-97AE6E2AD769}"/>
                  </a:ext>
                </a:extLst>
              </p:cNvPr>
              <p:cNvPicPr>
                <a:picLocks noGrp="1" noRot="1" noChangeAspect="1" noMove="1" noResize="1" noEditPoints="1" noAdjustHandles="1" noChangeArrowheads="1" noChangeShapeType="1"/>
              </p:cNvPicPr>
              <p:nvPr/>
            </p:nvPicPr>
            <p:blipFill>
              <a:blip r:embed="rId3"/>
              <a:stretch>
                <a:fillRect/>
              </a:stretch>
            </p:blipFill>
            <p:spPr>
              <a:xfrm>
                <a:off x="5587483" y="400230"/>
                <a:ext cx="922338" cy="518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751DBE72-949D-4F10-BC55-8A0CE66C9C56}"/>
                  </a:ext>
                </a:extLst>
              </p:cNvPr>
              <p:cNvGraphicFramePr>
                <a:graphicFrameLocks noChangeAspect="1"/>
              </p:cNvGraphicFramePr>
              <p:nvPr>
                <p:extLst>
                  <p:ext uri="{D42A27DB-BD31-4B8C-83A1-F6EECF244321}">
                    <p14:modId xmlns:p14="http://schemas.microsoft.com/office/powerpoint/2010/main" val="3906860641"/>
                  </p:ext>
                </p:extLst>
              </p:nvPr>
            </p:nvGraphicFramePr>
            <p:xfrm>
              <a:off x="2893881" y="2098905"/>
              <a:ext cx="963612" cy="542032"/>
            </p:xfrm>
            <a:graphic>
              <a:graphicData uri="http://schemas.microsoft.com/office/powerpoint/2016/slidezoom">
                <pslz:sldZm>
                  <pslz:sldZmObj sldId="2147469864" cId="1092214070">
                    <pslz:zmPr id="{37DA3AE9-A7DF-46BC-88DC-B018D7981D68}" transitionDur="1000">
                      <p166:blipFill xmlns:p166="http://schemas.microsoft.com/office/powerpoint/2016/6/main">
                        <a:blip r:embed="rId4"/>
                        <a:stretch>
                          <a:fillRect/>
                        </a:stretch>
                      </p166:blipFill>
                      <p166:spPr xmlns:p166="http://schemas.microsoft.com/office/powerpoint/2016/6/main">
                        <a:xfrm>
                          <a:off x="0" y="0"/>
                          <a:ext cx="963612" cy="5420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6" name="Slide Zoom 5">
                <a:extLst>
                  <a:ext uri="{FF2B5EF4-FFF2-40B4-BE49-F238E27FC236}">
                    <a16:creationId xmlns:a16="http://schemas.microsoft.com/office/drawing/2014/main" id="{751DBE72-949D-4F10-BC55-8A0CE66C9C56}"/>
                  </a:ext>
                </a:extLst>
              </p:cNvPr>
              <p:cNvPicPr>
                <a:picLocks noGrp="1" noRot="1" noChangeAspect="1" noMove="1" noResize="1" noEditPoints="1" noAdjustHandles="1" noChangeArrowheads="1" noChangeShapeType="1"/>
              </p:cNvPicPr>
              <p:nvPr/>
            </p:nvPicPr>
            <p:blipFill>
              <a:blip r:embed="rId5"/>
              <a:stretch>
                <a:fillRect/>
              </a:stretch>
            </p:blipFill>
            <p:spPr>
              <a:xfrm>
                <a:off x="2893881" y="2098905"/>
                <a:ext cx="963612" cy="5420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0E91A0AE-23E2-44E8-B61D-3AAD557287F4}"/>
                  </a:ext>
                </a:extLst>
              </p:cNvPr>
              <p:cNvGraphicFramePr>
                <a:graphicFrameLocks noChangeAspect="1"/>
              </p:cNvGraphicFramePr>
              <p:nvPr>
                <p:extLst>
                  <p:ext uri="{D42A27DB-BD31-4B8C-83A1-F6EECF244321}">
                    <p14:modId xmlns:p14="http://schemas.microsoft.com/office/powerpoint/2010/main" val="1958026714"/>
                  </p:ext>
                </p:extLst>
              </p:nvPr>
            </p:nvGraphicFramePr>
            <p:xfrm>
              <a:off x="5705698" y="2078387"/>
              <a:ext cx="1000089" cy="562550"/>
            </p:xfrm>
            <a:graphic>
              <a:graphicData uri="http://schemas.microsoft.com/office/powerpoint/2016/slidezoom">
                <pslz:sldZm>
                  <pslz:sldZmObj sldId="2147469861" cId="457264824">
                    <pslz:zmPr id="{3A660E40-ABAA-4807-88D0-A78C0372E953}" transitionDur="1000">
                      <p166:blipFill xmlns:p166="http://schemas.microsoft.com/office/powerpoint/2016/6/main">
                        <a:blip r:embed="rId6"/>
                        <a:stretch>
                          <a:fillRect/>
                        </a:stretch>
                      </p166:blipFill>
                      <p166:spPr xmlns:p166="http://schemas.microsoft.com/office/powerpoint/2016/6/main">
                        <a:xfrm>
                          <a:off x="0" y="0"/>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8" name="Slide Zoom 7">
                <a:extLst>
                  <a:ext uri="{FF2B5EF4-FFF2-40B4-BE49-F238E27FC236}">
                    <a16:creationId xmlns:a16="http://schemas.microsoft.com/office/drawing/2014/main" id="{0E91A0AE-23E2-44E8-B61D-3AAD557287F4}"/>
                  </a:ext>
                </a:extLst>
              </p:cNvPr>
              <p:cNvPicPr>
                <a:picLocks noGrp="1" noRot="1" noChangeAspect="1" noMove="1" noResize="1" noEditPoints="1" noAdjustHandles="1" noChangeArrowheads="1" noChangeShapeType="1"/>
              </p:cNvPicPr>
              <p:nvPr/>
            </p:nvPicPr>
            <p:blipFill>
              <a:blip r:embed="rId7"/>
              <a:stretch>
                <a:fillRect/>
              </a:stretch>
            </p:blipFill>
            <p:spPr>
              <a:xfrm>
                <a:off x="5705698" y="2078387"/>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907DFA66-3905-4D4E-8ED3-C49D1EC6CF96}"/>
                  </a:ext>
                </a:extLst>
              </p:cNvPr>
              <p:cNvGraphicFramePr>
                <a:graphicFrameLocks noChangeAspect="1"/>
              </p:cNvGraphicFramePr>
              <p:nvPr>
                <p:extLst>
                  <p:ext uri="{D42A27DB-BD31-4B8C-83A1-F6EECF244321}">
                    <p14:modId xmlns:p14="http://schemas.microsoft.com/office/powerpoint/2010/main" val="2244379385"/>
                  </p:ext>
                </p:extLst>
              </p:nvPr>
            </p:nvGraphicFramePr>
            <p:xfrm>
              <a:off x="7621904" y="2579185"/>
              <a:ext cx="959508" cy="539723"/>
            </p:xfrm>
            <a:graphic>
              <a:graphicData uri="http://schemas.microsoft.com/office/powerpoint/2016/slidezoom">
                <pslz:sldZm>
                  <pslz:sldZmObj sldId="2147469862" cId="4043060420">
                    <pslz:zmPr id="{2FC93DAD-1EAE-442B-B06A-8C7214843215}" transitionDur="1000">
                      <p166:blipFill xmlns:p166="http://schemas.microsoft.com/office/powerpoint/2016/6/main">
                        <a:blip r:embed="rId8"/>
                        <a:stretch>
                          <a:fillRect/>
                        </a:stretch>
                      </p166:blipFill>
                      <p166:spPr xmlns:p166="http://schemas.microsoft.com/office/powerpoint/2016/6/main">
                        <a:xfrm>
                          <a:off x="0" y="0"/>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10" name="Slide Zoom 9">
                <a:extLst>
                  <a:ext uri="{FF2B5EF4-FFF2-40B4-BE49-F238E27FC236}">
                    <a16:creationId xmlns:a16="http://schemas.microsoft.com/office/drawing/2014/main" id="{907DFA66-3905-4D4E-8ED3-C49D1EC6CF96}"/>
                  </a:ext>
                </a:extLst>
              </p:cNvPr>
              <p:cNvPicPr>
                <a:picLocks noGrp="1" noRot="1" noChangeAspect="1" noMove="1" noResize="1" noEditPoints="1" noAdjustHandles="1" noChangeArrowheads="1" noChangeShapeType="1"/>
              </p:cNvPicPr>
              <p:nvPr/>
            </p:nvPicPr>
            <p:blipFill>
              <a:blip r:embed="rId9"/>
              <a:stretch>
                <a:fillRect/>
              </a:stretch>
            </p:blipFill>
            <p:spPr>
              <a:xfrm>
                <a:off x="7621904" y="2579185"/>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A06E637F-DFD9-4790-AEEF-53A7BF82E0EE}"/>
                  </a:ext>
                </a:extLst>
              </p:cNvPr>
              <p:cNvGraphicFramePr>
                <a:graphicFrameLocks noChangeAspect="1"/>
              </p:cNvGraphicFramePr>
              <p:nvPr>
                <p:extLst>
                  <p:ext uri="{D42A27DB-BD31-4B8C-83A1-F6EECF244321}">
                    <p14:modId xmlns:p14="http://schemas.microsoft.com/office/powerpoint/2010/main" val="2741220868"/>
                  </p:ext>
                </p:extLst>
              </p:nvPr>
            </p:nvGraphicFramePr>
            <p:xfrm>
              <a:off x="3956790" y="4016975"/>
              <a:ext cx="1016000" cy="571500"/>
            </p:xfrm>
            <a:graphic>
              <a:graphicData uri="http://schemas.microsoft.com/office/powerpoint/2016/slidezoom">
                <pslz:sldZm>
                  <pslz:sldZmObj sldId="2147469866" cId="556304331">
                    <pslz:zmPr id="{2775A345-8E60-414D-B19E-9C12C17D4B58}" transitionDur="1000">
                      <p166:blipFill xmlns:p166="http://schemas.microsoft.com/office/powerpoint/2016/6/main">
                        <a:blip r:embed="rId10"/>
                        <a:stretch>
                          <a:fillRect/>
                        </a:stretch>
                      </p166:blipFill>
                      <p166:spPr xmlns:p166="http://schemas.microsoft.com/office/powerpoint/2016/6/main">
                        <a:xfrm>
                          <a:off x="0" y="0"/>
                          <a:ext cx="1016000" cy="571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A06E637F-DFD9-4790-AEEF-53A7BF82E0EE}"/>
                  </a:ext>
                </a:extLst>
              </p:cNvPr>
              <p:cNvPicPr>
                <a:picLocks noGrp="1" noRot="1" noChangeAspect="1" noMove="1" noResize="1" noEditPoints="1" noAdjustHandles="1" noChangeArrowheads="1" noChangeShapeType="1"/>
              </p:cNvPicPr>
              <p:nvPr/>
            </p:nvPicPr>
            <p:blipFill>
              <a:blip r:embed="rId11"/>
              <a:stretch>
                <a:fillRect/>
              </a:stretch>
            </p:blipFill>
            <p:spPr>
              <a:xfrm>
                <a:off x="3956790" y="4016975"/>
                <a:ext cx="1016000" cy="571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9242C8EB-B9D4-4728-B9A0-75702E634041}"/>
                  </a:ext>
                </a:extLst>
              </p:cNvPr>
              <p:cNvGraphicFramePr>
                <a:graphicFrameLocks noChangeAspect="1"/>
              </p:cNvGraphicFramePr>
              <p:nvPr>
                <p:extLst>
                  <p:ext uri="{D42A27DB-BD31-4B8C-83A1-F6EECF244321}">
                    <p14:modId xmlns:p14="http://schemas.microsoft.com/office/powerpoint/2010/main" val="3040153126"/>
                  </p:ext>
                </p:extLst>
              </p:nvPr>
            </p:nvGraphicFramePr>
            <p:xfrm>
              <a:off x="9191281" y="2579185"/>
              <a:ext cx="959508" cy="539723"/>
            </p:xfrm>
            <a:graphic>
              <a:graphicData uri="http://schemas.microsoft.com/office/powerpoint/2016/slidezoom">
                <pslz:sldZm>
                  <pslz:sldZmObj sldId="2147469868" cId="1145276652">
                    <pslz:zmPr id="{7CED315C-1D3F-4416-AA95-F4DBC554BDBA}" transitionDur="1000">
                      <p166:blipFill xmlns:p166="http://schemas.microsoft.com/office/powerpoint/2016/6/main">
                        <a:blip r:embed="rId12"/>
                        <a:stretch>
                          <a:fillRect/>
                        </a:stretch>
                      </p166:blipFill>
                      <p166:spPr xmlns:p166="http://schemas.microsoft.com/office/powerpoint/2016/6/main">
                        <a:xfrm>
                          <a:off x="0" y="0"/>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9" name="Slide Zoom 8">
                <a:extLst>
                  <a:ext uri="{FF2B5EF4-FFF2-40B4-BE49-F238E27FC236}">
                    <a16:creationId xmlns:a16="http://schemas.microsoft.com/office/drawing/2014/main" id="{9242C8EB-B9D4-4728-B9A0-75702E634041}"/>
                  </a:ext>
                </a:extLst>
              </p:cNvPr>
              <p:cNvPicPr>
                <a:picLocks noGrp="1" noRot="1" noChangeAspect="1" noMove="1" noResize="1" noEditPoints="1" noAdjustHandles="1" noChangeArrowheads="1" noChangeShapeType="1"/>
              </p:cNvPicPr>
              <p:nvPr/>
            </p:nvPicPr>
            <p:blipFill>
              <a:blip r:embed="rId13"/>
              <a:stretch>
                <a:fillRect/>
              </a:stretch>
            </p:blipFill>
            <p:spPr>
              <a:xfrm>
                <a:off x="9191281" y="2579185"/>
                <a:ext cx="959508" cy="5397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0BBDF753-2689-4A88-A3F0-00A366CF8324}"/>
                  </a:ext>
                </a:extLst>
              </p:cNvPr>
              <p:cNvGraphicFramePr>
                <a:graphicFrameLocks noChangeAspect="1"/>
              </p:cNvGraphicFramePr>
              <p:nvPr>
                <p:extLst>
                  <p:ext uri="{D42A27DB-BD31-4B8C-83A1-F6EECF244321}">
                    <p14:modId xmlns:p14="http://schemas.microsoft.com/office/powerpoint/2010/main" val="511016137"/>
                  </p:ext>
                </p:extLst>
              </p:nvPr>
            </p:nvGraphicFramePr>
            <p:xfrm>
              <a:off x="10760658" y="2567771"/>
              <a:ext cx="1000089" cy="562550"/>
            </p:xfrm>
            <a:graphic>
              <a:graphicData uri="http://schemas.microsoft.com/office/powerpoint/2016/slidezoom">
                <pslz:sldZm>
                  <pslz:sldZmObj sldId="2147469867" cId="132150229">
                    <pslz:zmPr id="{522B29BE-10A9-4FCD-903A-10AFA1908E50}" transitionDur="1000">
                      <p166:blipFill xmlns:p166="http://schemas.microsoft.com/office/powerpoint/2016/6/main">
                        <a:blip r:embed="rId14"/>
                        <a:stretch>
                          <a:fillRect/>
                        </a:stretch>
                      </p166:blipFill>
                      <p166:spPr xmlns:p166="http://schemas.microsoft.com/office/powerpoint/2016/6/main">
                        <a:xfrm>
                          <a:off x="0" y="0"/>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12" name="Slide Zoom 11">
                <a:extLst>
                  <a:ext uri="{FF2B5EF4-FFF2-40B4-BE49-F238E27FC236}">
                    <a16:creationId xmlns:a16="http://schemas.microsoft.com/office/drawing/2014/main" id="{0BBDF753-2689-4A88-A3F0-00A366CF8324}"/>
                  </a:ext>
                </a:extLst>
              </p:cNvPr>
              <p:cNvPicPr>
                <a:picLocks noGrp="1" noRot="1" noChangeAspect="1" noMove="1" noResize="1" noEditPoints="1" noAdjustHandles="1" noChangeArrowheads="1" noChangeShapeType="1"/>
              </p:cNvPicPr>
              <p:nvPr/>
            </p:nvPicPr>
            <p:blipFill>
              <a:blip r:embed="rId15"/>
              <a:stretch>
                <a:fillRect/>
              </a:stretch>
            </p:blipFill>
            <p:spPr>
              <a:xfrm>
                <a:off x="10760658" y="2567771"/>
                <a:ext cx="1000089" cy="562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Tree>
    <p:extLst>
      <p:ext uri="{BB962C8B-B14F-4D97-AF65-F5344CB8AC3E}">
        <p14:creationId xmlns:p14="http://schemas.microsoft.com/office/powerpoint/2010/main" val="3067442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4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1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2.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3.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sz="1000" dirty="0" smtClean="0">
            <a:solidFill>
              <a:schemeClr val="bg1"/>
            </a:soli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4.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5.xml><?xml version="1.0" encoding="utf-8"?>
<a:theme xmlns:a="http://schemas.openxmlformats.org/drawingml/2006/main" name="7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91440" rIns="91440" bIns="91440" rtlCol="0">
        <a:spAutoFit/>
      </a:bodyPr>
      <a:lstStyle>
        <a:defPPr algn="l">
          <a:defRPr sz="1000" dirty="0" smtClean="0">
            <a:solidFill>
              <a:schemeClr val="bg1"/>
            </a:soli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7.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7" id="{F6BB1F83-54D4-4674-A10A-F8BCEC001145}" vid="{1A3A42F5-84A9-432E-B850-933B257E518B}"/>
    </a:ext>
  </a:extLst>
</a:theme>
</file>

<file path=ppt/theme/theme18.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9.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0.xml><?xml version="1.0" encoding="utf-8"?>
<a:theme xmlns:a="http://schemas.openxmlformats.org/drawingml/2006/main" name="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1.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2.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6.xml><?xml version="1.0" encoding="utf-8"?>
<a:theme xmlns:a="http://schemas.openxmlformats.org/drawingml/2006/main" name="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7.xml><?xml version="1.0" encoding="utf-8"?>
<a:theme xmlns:a="http://schemas.openxmlformats.org/drawingml/2006/main" name="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8.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77E504-449D-486E-B40C-9D5B5C1749A2}">
  <ds:schemaRefs>
    <ds:schemaRef ds:uri="http://schemas.microsoft.com/office/2006/metadata/properties"/>
    <ds:schemaRef ds:uri="http://schemas.microsoft.com/office/2006/documentManagement/types"/>
    <ds:schemaRef ds:uri="e94bc8a8-58ed-427a-9b77-9fee66e26b45"/>
    <ds:schemaRef ds:uri="http://www.w3.org/XML/1998/namespace"/>
    <ds:schemaRef ds:uri="http://schemas.microsoft.com/sharepoint/v3"/>
    <ds:schemaRef ds:uri="fedf6241-4939-4e1b-b590-33dfacd534c5"/>
    <ds:schemaRef ds:uri="http://purl.org/dc/dcmitype/"/>
    <ds:schemaRef ds:uri="http://schemas.microsoft.com/office/infopath/2007/PartnerControls"/>
    <ds:schemaRef ds:uri="http://schemas.openxmlformats.org/package/2006/metadata/core-properties"/>
    <ds:schemaRef ds:uri="http://purl.org/dc/terms/"/>
    <ds:schemaRef ds:uri="http://purl.org/dc/elements/1.1/"/>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28</Words>
  <Application>Microsoft Office PowerPoint</Application>
  <PresentationFormat>Widescreen</PresentationFormat>
  <Paragraphs>238</Paragraphs>
  <Slides>16</Slides>
  <Notes>4</Notes>
  <HiddenSlides>0</HiddenSlides>
  <MMClips>0</MMClips>
  <ScaleCrop>false</ScaleCrop>
  <HeadingPairs>
    <vt:vector size="8" baseType="variant">
      <vt:variant>
        <vt:lpstr>Fonts Used</vt:lpstr>
      </vt:variant>
      <vt:variant>
        <vt:i4>12</vt:i4>
      </vt:variant>
      <vt:variant>
        <vt:lpstr>Theme</vt:lpstr>
      </vt:variant>
      <vt:variant>
        <vt:i4>22</vt:i4>
      </vt:variant>
      <vt:variant>
        <vt:lpstr>Embedded OLE Servers</vt:lpstr>
      </vt:variant>
      <vt:variant>
        <vt:i4>1</vt:i4>
      </vt:variant>
      <vt:variant>
        <vt:lpstr>Slide Titles</vt:lpstr>
      </vt:variant>
      <vt:variant>
        <vt:i4>16</vt:i4>
      </vt:variant>
    </vt:vector>
  </HeadingPairs>
  <TitlesOfParts>
    <vt:vector size="51" baseType="lpstr">
      <vt:lpstr>Abadi</vt: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365 PPT Template - 2018</vt:lpstr>
      <vt:lpstr>White Template</vt:lpstr>
      <vt:lpstr>9-51153_Microsoft_Ignite_White_Template</vt:lpstr>
      <vt:lpstr>1_Microsoft 365 PPT Template - 2018</vt:lpstr>
      <vt:lpstr>Microsoft Security template</vt:lpstr>
      <vt:lpstr>4_Microsoft 365 PPT Template - 2018</vt:lpstr>
      <vt:lpstr>1_LIGHT GRAY TEMPLATE</vt:lpstr>
      <vt:lpstr>1_9-51052_Microsoft_Ready_Template_Light</vt:lpstr>
      <vt:lpstr>6_Microsoft 365 PPT Template - 2018</vt:lpstr>
      <vt:lpstr>7_White Template</vt:lpstr>
      <vt:lpstr>7_Microsoft 365 PPT Template - 2018</vt:lpstr>
      <vt:lpstr>3_Microsoft 365 PPT Template - 2018</vt:lpstr>
      <vt:lpstr>5_Microsoft 365 PPT Template - 2018</vt:lpstr>
      <vt:lpstr>1_Microsoft Security template</vt:lpstr>
      <vt:lpstr>1_USE THIS ONE_Microsoft Security template</vt:lpstr>
      <vt:lpstr>USE THIS ONE_Microsoft Security template</vt:lpstr>
      <vt:lpstr>2_Microsoft Security template</vt:lpstr>
      <vt:lpstr>8_Microsoft 365 PPT Template - 2018</vt:lpstr>
      <vt:lpstr>think-cell Slide</vt:lpstr>
      <vt:lpstr>Vision Diagrams Series Microsoft Priva</vt:lpstr>
      <vt:lpstr>PowerPoint Presentation</vt:lpstr>
      <vt:lpstr>PowerPoint Presentation</vt:lpstr>
      <vt:lpstr>PowerPoint Presentation</vt:lpstr>
      <vt:lpstr>PowerPoint Presentation</vt:lpstr>
      <vt:lpstr>Vision Diagrams Series Microsoft Priv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8-11T07:4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